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3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.xml" ContentType="application/vnd.openxmlformats-officedocument.presentationml.notesSlide+xml"/>
  <Override PartName="/ppt/tags/tag80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8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00" r:id="rId5"/>
    <p:sldMasterId id="2147483729" r:id="rId6"/>
  </p:sldMasterIdLst>
  <p:notesMasterIdLst>
    <p:notesMasterId r:id="rId19"/>
  </p:notesMasterIdLst>
  <p:handoutMasterIdLst>
    <p:handoutMasterId r:id="rId20"/>
  </p:handoutMasterIdLst>
  <p:sldIdLst>
    <p:sldId id="2076137575" r:id="rId7"/>
    <p:sldId id="2076137570" r:id="rId8"/>
    <p:sldId id="2076137582" r:id="rId9"/>
    <p:sldId id="380" r:id="rId10"/>
    <p:sldId id="2076137584" r:id="rId11"/>
    <p:sldId id="2076137609" r:id="rId12"/>
    <p:sldId id="393" r:id="rId13"/>
    <p:sldId id="396" r:id="rId14"/>
    <p:sldId id="2076137610" r:id="rId15"/>
    <p:sldId id="400" r:id="rId16"/>
    <p:sldId id="2727" r:id="rId17"/>
    <p:sldId id="2859" r:id="rId18"/>
  </p:sldIdLst>
  <p:sldSz cx="12192000" cy="6858000"/>
  <p:notesSz cx="6858000" cy="9144000"/>
  <p:custDataLst>
    <p:tags r:id="rId21"/>
  </p:custDataLst>
  <p:defaultTextStyle>
    <a:defPPr>
      <a:defRPr lang="de-DE"/>
    </a:defPPr>
    <a:lvl1pPr marL="0" algn="l" defTabSz="914400" rtl="0" eaLnBrk="1" latinLnBrk="0" hangingPunct="1">
      <a:lnSpc>
        <a:spcPct val="110000"/>
      </a:lnSpc>
      <a:spcBef>
        <a:spcPts val="0"/>
      </a:spcBef>
      <a:spcAft>
        <a:spcPts val="600"/>
      </a:spcAft>
      <a:defRPr sz="1800" b="1" kern="1200">
        <a:solidFill>
          <a:schemeClr val="tx1"/>
        </a:solidFill>
        <a:latin typeface="+mn-lt"/>
        <a:ea typeface="+mn-ea"/>
        <a:cs typeface="+mn-cs"/>
      </a:defRPr>
    </a:lvl1pPr>
    <a:lvl2pPr marL="0" algn="l" defTabSz="914400" rtl="0" eaLnBrk="1" latinLnBrk="0" hangingPunct="1">
      <a:lnSpc>
        <a:spcPct val="110000"/>
      </a:lnSpc>
      <a:spcBef>
        <a:spcPts val="0"/>
      </a:spcBef>
      <a:spcAft>
        <a:spcPts val="600"/>
      </a:spcAft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200000" indent="-200000" algn="l" rtl="0" latinLnBrk="0" hangingPunct="1">
      <a:lnSpc>
        <a:spcPct val="110000"/>
      </a:lnSpc>
      <a:spcBef>
        <a:spcPts val="0"/>
      </a:spcBef>
      <a:spcAft>
        <a:spcPts val="600"/>
      </a:spcAft>
      <a:buSzPct val="100000"/>
      <a:buChar char="•"/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400000" indent="-200000" algn="l" rtl="0" latinLnBrk="0" hangingPunct="1">
      <a:lnSpc>
        <a:spcPct val="110000"/>
      </a:lnSpc>
      <a:spcBef>
        <a:spcPts val="0"/>
      </a:spcBef>
      <a:spcAft>
        <a:spcPts val="600"/>
      </a:spcAft>
      <a:buSzPct val="100000"/>
      <a:buChar char="−"/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600000" indent="-200000" algn="l" rtl="0" latinLnBrk="0" hangingPunct="1">
      <a:lnSpc>
        <a:spcPct val="110000"/>
      </a:lnSpc>
      <a:spcBef>
        <a:spcPts val="0"/>
      </a:spcBef>
      <a:spcAft>
        <a:spcPts val="600"/>
      </a:spcAft>
      <a:buSzPct val="100000"/>
      <a:buChar char="−"/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800000" indent="-200000" algn="l" rtl="0" latinLnBrk="0" hangingPunct="1">
      <a:lnSpc>
        <a:spcPct val="110000"/>
      </a:lnSpc>
      <a:spcBef>
        <a:spcPts val="0"/>
      </a:spcBef>
      <a:spcAft>
        <a:spcPts val="600"/>
      </a:spcAft>
      <a:buSzPct val="100000"/>
      <a:buChar char="−"/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800000" indent="-200000" algn="l" rtl="0" latinLnBrk="0" hangingPunct="1">
      <a:lnSpc>
        <a:spcPct val="110000"/>
      </a:lnSpc>
      <a:spcBef>
        <a:spcPts val="0"/>
      </a:spcBef>
      <a:spcAft>
        <a:spcPts val="600"/>
      </a:spcAft>
      <a:buSzPct val="100000"/>
      <a:buChar char="−"/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800000" indent="-200000" algn="l" rtl="0" latinLnBrk="0" hangingPunct="1">
      <a:lnSpc>
        <a:spcPct val="110000"/>
      </a:lnSpc>
      <a:spcBef>
        <a:spcPts val="0"/>
      </a:spcBef>
      <a:spcAft>
        <a:spcPts val="600"/>
      </a:spcAft>
      <a:buSzPct val="100000"/>
      <a:buChar char="−"/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800000" indent="-200000" algn="l" rtl="0" latinLnBrk="0" hangingPunct="1">
      <a:lnSpc>
        <a:spcPct val="110000"/>
      </a:lnSpc>
      <a:spcBef>
        <a:spcPts val="0"/>
      </a:spcBef>
      <a:spcAft>
        <a:spcPts val="600"/>
      </a:spcAft>
      <a:buSzPct val="100000"/>
      <a:buChar char="−"/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haltsverzeichnis" id="{966AA8FA-B062-4D37-9E5A-D99073D29DF5}">
          <p14:sldIdLst>
            <p14:sldId id="2076137575"/>
            <p14:sldId id="2076137570"/>
            <p14:sldId id="2076137582"/>
            <p14:sldId id="380"/>
            <p14:sldId id="2076137584"/>
            <p14:sldId id="2076137609"/>
            <p14:sldId id="393"/>
            <p14:sldId id="396"/>
            <p14:sldId id="2076137610"/>
            <p14:sldId id="400"/>
            <p14:sldId id="2727"/>
            <p14:sldId id="2859"/>
          </p14:sldIdLst>
        </p14:section>
      </p14:sectionLst>
    </p:ext>
    <p:ext uri="{EFAFB233-063F-42B5-8137-9DF3F51BA10A}">
      <p15:sldGuideLst xmlns:p15="http://schemas.microsoft.com/office/powerpoint/2012/main">
        <p15:guide id="3" pos="1844" userDrawn="1">
          <p15:clr>
            <a:srgbClr val="A4A3A4"/>
          </p15:clr>
        </p15:guide>
        <p15:guide id="4" pos="2116" userDrawn="1">
          <p15:clr>
            <a:srgbClr val="A4A3A4"/>
          </p15:clr>
        </p15:guide>
        <p15:guide id="6" pos="2706" userDrawn="1">
          <p15:clr>
            <a:srgbClr val="A4A3A4"/>
          </p15:clr>
        </p15:guide>
        <p15:guide id="7" pos="3704" userDrawn="1">
          <p15:clr>
            <a:srgbClr val="A4A3A4"/>
          </p15:clr>
        </p15:guide>
        <p15:guide id="8" pos="3976" userDrawn="1">
          <p15:clr>
            <a:srgbClr val="A4A3A4"/>
          </p15:clr>
        </p15:guide>
        <p15:guide id="10" pos="5155" userDrawn="1">
          <p15:clr>
            <a:srgbClr val="A4A3A4"/>
          </p15:clr>
        </p15:guide>
        <p15:guide id="11" pos="5564" userDrawn="1">
          <p15:clr>
            <a:srgbClr val="A4A3A4"/>
          </p15:clr>
        </p15:guide>
        <p15:guide id="12" pos="5836" userDrawn="1">
          <p15:clr>
            <a:srgbClr val="A4A3A4"/>
          </p15:clr>
        </p15:guide>
        <p15:guide id="13" orient="horz" pos="709" userDrawn="1">
          <p15:clr>
            <a:srgbClr val="A4A3A4"/>
          </p15:clr>
        </p15:guide>
        <p15:guide id="17" pos="4974" userDrawn="1">
          <p15:clr>
            <a:srgbClr val="A4A3A4"/>
          </p15:clr>
        </p15:guide>
        <p15:guide id="19" pos="2525" userDrawn="1">
          <p15:clr>
            <a:srgbClr val="A4A3A4"/>
          </p15:clr>
        </p15:guide>
        <p15:guide id="2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ura Haink" initials="LH" lastIdx="20" clrIdx="0"/>
  <p:cmAuthor id="2" name="Timo Glosemeyer" initials="TG" lastIdx="37" clrIdx="1"/>
  <p:cmAuthor id="3" name="Anna Juettner" initials="AJ" lastIdx="2" clrIdx="2"/>
  <p:cmAuthor id="4" name="Cem Kadim" initials="CK" lastIdx="4" clrIdx="3">
    <p:extLst>
      <p:ext uri="{19B8F6BF-5375-455C-9EA6-DF929625EA0E}">
        <p15:presenceInfo xmlns:p15="http://schemas.microsoft.com/office/powerpoint/2012/main" userId="S-1-5-21-2900290652-3162160026-1438150922-173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DB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BBC1A34-13A9-4DB4-A9A0-74582BA47EF5}">
  <a:tblStyle styleId="{2BBC1A34-13A9-4DB4-A9A0-74582BA47EF5}" styleName="LIDL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6350" cmpd="sng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lastCol>
      <a:tcTxStyle b="on">
        <a:fontRef idx="major">
          <a:prstClr val="black"/>
        </a:fontRef>
        <a:schemeClr val="tx1"/>
      </a:tcTxStyle>
      <a:tcStyle>
        <a:tcBdr/>
        <a:fill>
          <a:noFill/>
        </a:fill>
      </a:tcStyle>
    </a:lastCol>
    <a:firstCol>
      <a:tcTxStyle b="on">
        <a:fontRef idx="major">
          <a:prstClr val="black"/>
        </a:fontRef>
        <a:schemeClr val="tx1"/>
      </a:tcTxStyle>
      <a:tcStyle>
        <a:tcBdr/>
        <a:fill>
          <a:noFill/>
        </a:fill>
      </a:tcStyle>
    </a:firstCol>
    <a:lastRow>
      <a:tcTxStyle b="on">
        <a:fontRef idx="major">
          <a:prstClr val="black"/>
        </a:fontRef>
        <a:schemeClr val="tx1"/>
      </a:tcTxStyle>
      <a:tcStyle>
        <a:tcBdr>
          <a:top>
            <a:ln w="14050" cmpd="sng">
              <a:solidFill>
                <a:schemeClr val="tx1"/>
              </a:solidFill>
            </a:ln>
          </a:top>
          <a:bottom>
            <a:ln w="0" cmpd="sng">
              <a:solidFill>
                <a:schemeClr val="tx1"/>
              </a:solidFill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tx1"/>
      </a:tcTxStyle>
      <a:tcStyle>
        <a:tcBdr>
          <a:bottom>
            <a:ln w="1405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Svetlý štýl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93D81CF-94F2-401A-BA57-92F5A7B2D0C5}" styleName="Stredný štýl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66" autoAdjust="0"/>
    <p:restoredTop sz="96357" autoAdjust="0"/>
  </p:normalViewPr>
  <p:slideViewPr>
    <p:cSldViewPr showGuides="1">
      <p:cViewPr varScale="1">
        <p:scale>
          <a:sx n="114" d="100"/>
          <a:sy n="114" d="100"/>
        </p:scale>
        <p:origin x="444" y="120"/>
      </p:cViewPr>
      <p:guideLst>
        <p:guide pos="1844"/>
        <p:guide pos="2116"/>
        <p:guide pos="2706"/>
        <p:guide pos="3704"/>
        <p:guide pos="3976"/>
        <p:guide pos="5155"/>
        <p:guide pos="5564"/>
        <p:guide pos="5836"/>
        <p:guide orient="horz" pos="709"/>
        <p:guide pos="4974"/>
        <p:guide pos="2525"/>
        <p:guide pos="3840"/>
      </p:guideLst>
    </p:cSldViewPr>
  </p:slideViewPr>
  <p:outlineViewPr>
    <p:cViewPr>
      <p:scale>
        <a:sx n="33" d="100"/>
        <a:sy n="33" d="100"/>
      </p:scale>
      <p:origin x="0" y="-31254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276"/>
    </p:cViewPr>
  </p:sorterViewPr>
  <p:notesViewPr>
    <p:cSldViewPr showGuides="1">
      <p:cViewPr>
        <p:scale>
          <a:sx n="80" d="100"/>
          <a:sy n="80" d="100"/>
        </p:scale>
        <p:origin x="2832" y="-427"/>
      </p:cViewPr>
      <p:guideLst/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1146715-F80B-4F9A-8B21-EDC8525C71CA}" type="doc">
      <dgm:prSet loTypeId="urn:microsoft.com/office/officeart/2005/8/layout/radial5" loCatId="cycle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sk-SK"/>
        </a:p>
      </dgm:t>
    </dgm:pt>
    <dgm:pt modelId="{D8C49780-A446-4019-A4C4-7B6915B235BC}">
      <dgm:prSet phldrT="[Text]"/>
      <dgm:spPr>
        <a:solidFill>
          <a:schemeClr val="tx1">
            <a:lumMod val="20000"/>
            <a:lumOff val="80000"/>
          </a:schemeClr>
        </a:solidFill>
        <a:ln>
          <a:solidFill>
            <a:schemeClr val="tx1"/>
          </a:solidFill>
        </a:ln>
      </dgm:spPr>
      <dgm:t>
        <a:bodyPr/>
        <a:lstStyle/>
        <a:p>
          <a:r>
            <a:rPr lang="sk-SK" b="1" dirty="0">
              <a:solidFill>
                <a:schemeClr val="tx1"/>
              </a:solidFill>
            </a:rPr>
            <a:t>Vzdelávanie</a:t>
          </a:r>
        </a:p>
      </dgm:t>
    </dgm:pt>
    <dgm:pt modelId="{28D231D5-4D4E-440E-AC3F-1F5CC0FB5B66}" type="parTrans" cxnId="{92B65747-B2F3-4883-9B31-E792F8991118}">
      <dgm:prSet/>
      <dgm:spPr/>
      <dgm:t>
        <a:bodyPr/>
        <a:lstStyle/>
        <a:p>
          <a:endParaRPr lang="sk-SK" b="1"/>
        </a:p>
      </dgm:t>
    </dgm:pt>
    <dgm:pt modelId="{B7B04A4C-D59A-45BD-9161-DC2B4157FF85}" type="sibTrans" cxnId="{92B65747-B2F3-4883-9B31-E792F8991118}">
      <dgm:prSet/>
      <dgm:spPr/>
      <dgm:t>
        <a:bodyPr/>
        <a:lstStyle/>
        <a:p>
          <a:endParaRPr lang="sk-SK" b="1"/>
        </a:p>
      </dgm:t>
    </dgm:pt>
    <dgm:pt modelId="{5156F528-582A-4141-ADA8-40B2E72A54CF}">
      <dgm:prSet phldrT="[Text]" custT="1"/>
      <dgm:spPr>
        <a:solidFill>
          <a:schemeClr val="tx1"/>
        </a:solidFill>
      </dgm:spPr>
      <dgm:t>
        <a:bodyPr/>
        <a:lstStyle/>
        <a:p>
          <a:r>
            <a:rPr lang="sk-SK" sz="900" b="1" dirty="0"/>
            <a:t>Budovanie kariéry</a:t>
          </a:r>
        </a:p>
      </dgm:t>
    </dgm:pt>
    <dgm:pt modelId="{961B4743-8CFB-4D2C-9E18-DBB32CD8AF69}" type="parTrans" cxnId="{392488DD-12B1-44CD-AF7D-A9CECECD15CA}">
      <dgm:prSet/>
      <dgm:spPr>
        <a:solidFill>
          <a:schemeClr val="tx1">
            <a:lumMod val="20000"/>
            <a:lumOff val="80000"/>
          </a:schemeClr>
        </a:solidFill>
        <a:ln>
          <a:solidFill>
            <a:schemeClr val="tx1"/>
          </a:solidFill>
        </a:ln>
      </dgm:spPr>
      <dgm:t>
        <a:bodyPr/>
        <a:lstStyle/>
        <a:p>
          <a:endParaRPr lang="sk-SK" b="1"/>
        </a:p>
      </dgm:t>
    </dgm:pt>
    <dgm:pt modelId="{20BDAC65-88B3-43B7-B39A-03C13DEA965B}" type="sibTrans" cxnId="{392488DD-12B1-44CD-AF7D-A9CECECD15CA}">
      <dgm:prSet/>
      <dgm:spPr/>
      <dgm:t>
        <a:bodyPr/>
        <a:lstStyle/>
        <a:p>
          <a:endParaRPr lang="sk-SK" b="1"/>
        </a:p>
      </dgm:t>
    </dgm:pt>
    <dgm:pt modelId="{767E8DCB-2E01-42EC-94A0-1B6CF93D53A6}">
      <dgm:prSet phldrT="[Text]" custT="1"/>
      <dgm:spPr>
        <a:solidFill>
          <a:schemeClr val="tx1"/>
        </a:solidFill>
      </dgm:spPr>
      <dgm:t>
        <a:bodyPr/>
        <a:lstStyle/>
        <a:p>
          <a:r>
            <a:rPr lang="sk-SK" sz="900" b="1" dirty="0"/>
            <a:t>Základné vzdelávanie</a:t>
          </a:r>
        </a:p>
      </dgm:t>
    </dgm:pt>
    <dgm:pt modelId="{1ADE6799-FB63-4301-96D5-2C5E6096D12E}" type="parTrans" cxnId="{390AA0C7-9E81-4399-9946-E350CD5297FF}">
      <dgm:prSet/>
      <dgm:spPr>
        <a:solidFill>
          <a:schemeClr val="tx1">
            <a:lumMod val="20000"/>
            <a:lumOff val="80000"/>
          </a:schemeClr>
        </a:solidFill>
        <a:ln>
          <a:solidFill>
            <a:schemeClr val="tx1"/>
          </a:solidFill>
        </a:ln>
      </dgm:spPr>
      <dgm:t>
        <a:bodyPr/>
        <a:lstStyle/>
        <a:p>
          <a:endParaRPr lang="sk-SK" b="1"/>
        </a:p>
      </dgm:t>
    </dgm:pt>
    <dgm:pt modelId="{814B7910-E37B-49E6-A106-5CA963A74854}" type="sibTrans" cxnId="{390AA0C7-9E81-4399-9946-E350CD5297FF}">
      <dgm:prSet/>
      <dgm:spPr/>
      <dgm:t>
        <a:bodyPr/>
        <a:lstStyle/>
        <a:p>
          <a:endParaRPr lang="sk-SK" b="1"/>
        </a:p>
      </dgm:t>
    </dgm:pt>
    <dgm:pt modelId="{200BC465-1F5D-4309-8E39-8B2E52229C4D}">
      <dgm:prSet phldrT="[Text]" custT="1"/>
      <dgm:spPr>
        <a:solidFill>
          <a:schemeClr val="tx1"/>
        </a:solidFill>
      </dgm:spPr>
      <dgm:t>
        <a:bodyPr/>
        <a:lstStyle/>
        <a:p>
          <a:r>
            <a:rPr lang="sk-SK" sz="900" b="1" dirty="0"/>
            <a:t>Doplňujúce rozvojové workshopy</a:t>
          </a:r>
        </a:p>
      </dgm:t>
    </dgm:pt>
    <dgm:pt modelId="{8DD8ED0B-C7DC-4E0C-BD44-1C30F06F5EE7}" type="parTrans" cxnId="{C0D43A1B-1174-4ED4-9BA8-E0BAC229480F}">
      <dgm:prSet/>
      <dgm:spPr>
        <a:solidFill>
          <a:schemeClr val="tx1">
            <a:lumMod val="20000"/>
            <a:lumOff val="80000"/>
          </a:schemeClr>
        </a:solidFill>
        <a:ln>
          <a:solidFill>
            <a:schemeClr val="tx1"/>
          </a:solidFill>
        </a:ln>
      </dgm:spPr>
      <dgm:t>
        <a:bodyPr/>
        <a:lstStyle/>
        <a:p>
          <a:endParaRPr lang="sk-SK" b="1"/>
        </a:p>
      </dgm:t>
    </dgm:pt>
    <dgm:pt modelId="{DA82D20E-3EE4-4A1B-A26F-C70CFFBDECD6}" type="sibTrans" cxnId="{C0D43A1B-1174-4ED4-9BA8-E0BAC229480F}">
      <dgm:prSet/>
      <dgm:spPr/>
      <dgm:t>
        <a:bodyPr/>
        <a:lstStyle/>
        <a:p>
          <a:endParaRPr lang="sk-SK" b="1"/>
        </a:p>
      </dgm:t>
    </dgm:pt>
    <dgm:pt modelId="{3CC042BA-BFEC-4B47-8445-C51C014C5325}">
      <dgm:prSet phldrT="[Text]" custT="1"/>
      <dgm:spPr>
        <a:solidFill>
          <a:schemeClr val="tx1"/>
        </a:solidFill>
      </dgm:spPr>
      <dgm:t>
        <a:bodyPr/>
        <a:lstStyle/>
        <a:p>
          <a:r>
            <a:rPr lang="sk-SK" sz="900" b="1" dirty="0"/>
            <a:t>Praktické skúsenosti </a:t>
          </a:r>
        </a:p>
      </dgm:t>
    </dgm:pt>
    <dgm:pt modelId="{EC5F1EF2-0A32-4597-999C-90861EEF476C}" type="parTrans" cxnId="{2AED1B49-2CDA-4AA0-AD1C-664561A16DEC}">
      <dgm:prSet/>
      <dgm:spPr>
        <a:solidFill>
          <a:schemeClr val="tx1">
            <a:lumMod val="20000"/>
            <a:lumOff val="80000"/>
          </a:schemeClr>
        </a:solidFill>
        <a:ln>
          <a:solidFill>
            <a:schemeClr val="tx1"/>
          </a:solidFill>
        </a:ln>
      </dgm:spPr>
      <dgm:t>
        <a:bodyPr/>
        <a:lstStyle/>
        <a:p>
          <a:endParaRPr lang="sk-SK" b="1"/>
        </a:p>
      </dgm:t>
    </dgm:pt>
    <dgm:pt modelId="{9BCAA452-EE28-4DEB-A1DB-0217E85B7BE4}" type="sibTrans" cxnId="{2AED1B49-2CDA-4AA0-AD1C-664561A16DEC}">
      <dgm:prSet/>
      <dgm:spPr/>
      <dgm:t>
        <a:bodyPr/>
        <a:lstStyle/>
        <a:p>
          <a:endParaRPr lang="sk-SK" b="1"/>
        </a:p>
      </dgm:t>
    </dgm:pt>
    <dgm:pt modelId="{AE4D3C8E-70D7-4F6E-9D06-EED9DC51E52B}">
      <dgm:prSet phldrT="[Text]" custT="1"/>
      <dgm:spPr>
        <a:solidFill>
          <a:schemeClr val="tx1"/>
        </a:solidFill>
      </dgm:spPr>
      <dgm:t>
        <a:bodyPr/>
        <a:lstStyle/>
        <a:p>
          <a:r>
            <a:rPr lang="sk-SK" sz="900" b="1" dirty="0"/>
            <a:t>Doplňujúce vzdelávacie workshopy</a:t>
          </a:r>
        </a:p>
      </dgm:t>
    </dgm:pt>
    <dgm:pt modelId="{7EFECCF0-86AC-46E0-8E7E-96D3094D41E2}" type="parTrans" cxnId="{DD596BE5-DC74-4B9F-9269-12161207AFAE}">
      <dgm:prSet/>
      <dgm:spPr>
        <a:solidFill>
          <a:schemeClr val="tx1">
            <a:lumMod val="20000"/>
            <a:lumOff val="80000"/>
          </a:schemeClr>
        </a:solidFill>
        <a:ln>
          <a:solidFill>
            <a:schemeClr val="tx1"/>
          </a:solidFill>
        </a:ln>
      </dgm:spPr>
      <dgm:t>
        <a:bodyPr/>
        <a:lstStyle/>
        <a:p>
          <a:endParaRPr lang="sk-SK" b="1"/>
        </a:p>
      </dgm:t>
    </dgm:pt>
    <dgm:pt modelId="{C448F37B-4985-4ED6-B50C-CC23BD383D2B}" type="sibTrans" cxnId="{DD596BE5-DC74-4B9F-9269-12161207AFAE}">
      <dgm:prSet/>
      <dgm:spPr/>
      <dgm:t>
        <a:bodyPr/>
        <a:lstStyle/>
        <a:p>
          <a:endParaRPr lang="sk-SK" b="1"/>
        </a:p>
      </dgm:t>
    </dgm:pt>
    <dgm:pt modelId="{20B45036-523D-4178-A7EF-51832EF215ED}" type="pres">
      <dgm:prSet presAssocID="{61146715-F80B-4F9A-8B21-EDC8525C71CA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1F31EB89-4F11-44ED-9AEE-575734CF726E}" type="pres">
      <dgm:prSet presAssocID="{D8C49780-A446-4019-A4C4-7B6915B235BC}" presName="centerShape" presStyleLbl="node0" presStyleIdx="0" presStyleCnt="1"/>
      <dgm:spPr/>
    </dgm:pt>
    <dgm:pt modelId="{2F7A521F-C21A-4551-AB87-9B449B4E00AB}" type="pres">
      <dgm:prSet presAssocID="{961B4743-8CFB-4D2C-9E18-DBB32CD8AF69}" presName="parTrans" presStyleLbl="sibTrans2D1" presStyleIdx="0" presStyleCnt="5" custLinFactNeighborY="12674"/>
      <dgm:spPr/>
    </dgm:pt>
    <dgm:pt modelId="{5DD814E8-E871-47EF-873C-5825C13F832B}" type="pres">
      <dgm:prSet presAssocID="{961B4743-8CFB-4D2C-9E18-DBB32CD8AF69}" presName="connectorText" presStyleLbl="sibTrans2D1" presStyleIdx="0" presStyleCnt="5"/>
      <dgm:spPr/>
    </dgm:pt>
    <dgm:pt modelId="{3FFB5D7C-CFA4-402E-951A-237E709E4A83}" type="pres">
      <dgm:prSet presAssocID="{5156F528-582A-4141-ADA8-40B2E72A54CF}" presName="node" presStyleLbl="node1" presStyleIdx="0" presStyleCnt="5">
        <dgm:presLayoutVars>
          <dgm:bulletEnabled val="1"/>
        </dgm:presLayoutVars>
      </dgm:prSet>
      <dgm:spPr/>
    </dgm:pt>
    <dgm:pt modelId="{43A73F6D-8844-4381-B552-3B2F8E9BC8CA}" type="pres">
      <dgm:prSet presAssocID="{1ADE6799-FB63-4301-96D5-2C5E6096D12E}" presName="parTrans" presStyleLbl="sibTrans2D1" presStyleIdx="1" presStyleCnt="5" custLinFactNeighborY="12674"/>
      <dgm:spPr/>
    </dgm:pt>
    <dgm:pt modelId="{81E20010-200E-422C-B824-05A4B2E31192}" type="pres">
      <dgm:prSet presAssocID="{1ADE6799-FB63-4301-96D5-2C5E6096D12E}" presName="connectorText" presStyleLbl="sibTrans2D1" presStyleIdx="1" presStyleCnt="5"/>
      <dgm:spPr/>
    </dgm:pt>
    <dgm:pt modelId="{A29A76EA-6C81-4E8C-A298-18DA18917DC7}" type="pres">
      <dgm:prSet presAssocID="{767E8DCB-2E01-42EC-94A0-1B6CF93D53A6}" presName="node" presStyleLbl="node1" presStyleIdx="1" presStyleCnt="5">
        <dgm:presLayoutVars>
          <dgm:bulletEnabled val="1"/>
        </dgm:presLayoutVars>
      </dgm:prSet>
      <dgm:spPr/>
    </dgm:pt>
    <dgm:pt modelId="{7D881A4E-7B44-4D81-8DDA-D143DCEFCEA2}" type="pres">
      <dgm:prSet presAssocID="{7EFECCF0-86AC-46E0-8E7E-96D3094D41E2}" presName="parTrans" presStyleLbl="sibTrans2D1" presStyleIdx="2" presStyleCnt="5" custLinFactNeighborY="12674"/>
      <dgm:spPr/>
    </dgm:pt>
    <dgm:pt modelId="{61E63007-FE5C-4BCB-939C-4F691735EE04}" type="pres">
      <dgm:prSet presAssocID="{7EFECCF0-86AC-46E0-8E7E-96D3094D41E2}" presName="connectorText" presStyleLbl="sibTrans2D1" presStyleIdx="2" presStyleCnt="5"/>
      <dgm:spPr/>
    </dgm:pt>
    <dgm:pt modelId="{B5CB5C11-4081-4D98-AC34-3D9BB7C1E755}" type="pres">
      <dgm:prSet presAssocID="{AE4D3C8E-70D7-4F6E-9D06-EED9DC51E52B}" presName="node" presStyleLbl="node1" presStyleIdx="2" presStyleCnt="5">
        <dgm:presLayoutVars>
          <dgm:bulletEnabled val="1"/>
        </dgm:presLayoutVars>
      </dgm:prSet>
      <dgm:spPr/>
    </dgm:pt>
    <dgm:pt modelId="{246CADD3-374C-4233-8897-F55E23ABCB8F}" type="pres">
      <dgm:prSet presAssocID="{8DD8ED0B-C7DC-4E0C-BD44-1C30F06F5EE7}" presName="parTrans" presStyleLbl="sibTrans2D1" presStyleIdx="3" presStyleCnt="5" custLinFactNeighborY="6337"/>
      <dgm:spPr/>
    </dgm:pt>
    <dgm:pt modelId="{47A8C54D-7F34-49E1-B5CC-4E304E30A53E}" type="pres">
      <dgm:prSet presAssocID="{8DD8ED0B-C7DC-4E0C-BD44-1C30F06F5EE7}" presName="connectorText" presStyleLbl="sibTrans2D1" presStyleIdx="3" presStyleCnt="5"/>
      <dgm:spPr/>
    </dgm:pt>
    <dgm:pt modelId="{7F74C23B-53C1-4F93-B4BF-611A5068A121}" type="pres">
      <dgm:prSet presAssocID="{200BC465-1F5D-4309-8E39-8B2E52229C4D}" presName="node" presStyleLbl="node1" presStyleIdx="3" presStyleCnt="5">
        <dgm:presLayoutVars>
          <dgm:bulletEnabled val="1"/>
        </dgm:presLayoutVars>
      </dgm:prSet>
      <dgm:spPr/>
    </dgm:pt>
    <dgm:pt modelId="{176AA4F4-1B3A-4BF4-AC53-D3B79509ED4B}" type="pres">
      <dgm:prSet presAssocID="{EC5F1EF2-0A32-4597-999C-90861EEF476C}" presName="parTrans" presStyleLbl="sibTrans2D1" presStyleIdx="4" presStyleCnt="5" custLinFactNeighborY="12674"/>
      <dgm:spPr/>
    </dgm:pt>
    <dgm:pt modelId="{3C75C4A0-510C-4383-84CA-D3CDEB039E67}" type="pres">
      <dgm:prSet presAssocID="{EC5F1EF2-0A32-4597-999C-90861EEF476C}" presName="connectorText" presStyleLbl="sibTrans2D1" presStyleIdx="4" presStyleCnt="5"/>
      <dgm:spPr/>
    </dgm:pt>
    <dgm:pt modelId="{3263963B-425F-43D8-B392-A26425C50C95}" type="pres">
      <dgm:prSet presAssocID="{3CC042BA-BFEC-4B47-8445-C51C014C5325}" presName="node" presStyleLbl="node1" presStyleIdx="4" presStyleCnt="5" custRadScaleRad="99237" custRadScaleInc="588">
        <dgm:presLayoutVars>
          <dgm:bulletEnabled val="1"/>
        </dgm:presLayoutVars>
      </dgm:prSet>
      <dgm:spPr/>
    </dgm:pt>
  </dgm:ptLst>
  <dgm:cxnLst>
    <dgm:cxn modelId="{17FAE100-900B-4D62-A89A-2E079C1F5F24}" type="presOf" srcId="{8DD8ED0B-C7DC-4E0C-BD44-1C30F06F5EE7}" destId="{246CADD3-374C-4233-8897-F55E23ABCB8F}" srcOrd="0" destOrd="0" presId="urn:microsoft.com/office/officeart/2005/8/layout/radial5"/>
    <dgm:cxn modelId="{D2D50001-111B-44DB-B1A2-B2432E56EEE4}" type="presOf" srcId="{961B4743-8CFB-4D2C-9E18-DBB32CD8AF69}" destId="{5DD814E8-E871-47EF-873C-5825C13F832B}" srcOrd="1" destOrd="0" presId="urn:microsoft.com/office/officeart/2005/8/layout/radial5"/>
    <dgm:cxn modelId="{27A5F018-0BA8-4AD6-8C8B-DB161380147B}" type="presOf" srcId="{200BC465-1F5D-4309-8E39-8B2E52229C4D}" destId="{7F74C23B-53C1-4F93-B4BF-611A5068A121}" srcOrd="0" destOrd="0" presId="urn:microsoft.com/office/officeart/2005/8/layout/radial5"/>
    <dgm:cxn modelId="{C0D43A1B-1174-4ED4-9BA8-E0BAC229480F}" srcId="{D8C49780-A446-4019-A4C4-7B6915B235BC}" destId="{200BC465-1F5D-4309-8E39-8B2E52229C4D}" srcOrd="3" destOrd="0" parTransId="{8DD8ED0B-C7DC-4E0C-BD44-1C30F06F5EE7}" sibTransId="{DA82D20E-3EE4-4A1B-A26F-C70CFFBDECD6}"/>
    <dgm:cxn modelId="{2F2B6A20-2CE9-46FA-9BC3-B9DCEE5B708C}" type="presOf" srcId="{D8C49780-A446-4019-A4C4-7B6915B235BC}" destId="{1F31EB89-4F11-44ED-9AEE-575734CF726E}" srcOrd="0" destOrd="0" presId="urn:microsoft.com/office/officeart/2005/8/layout/radial5"/>
    <dgm:cxn modelId="{F913BE38-2753-4C36-9F44-0A158BC4714F}" type="presOf" srcId="{1ADE6799-FB63-4301-96D5-2C5E6096D12E}" destId="{81E20010-200E-422C-B824-05A4B2E31192}" srcOrd="1" destOrd="0" presId="urn:microsoft.com/office/officeart/2005/8/layout/radial5"/>
    <dgm:cxn modelId="{4730A43B-781F-44D3-9C65-A45EA43224C0}" type="presOf" srcId="{8DD8ED0B-C7DC-4E0C-BD44-1C30F06F5EE7}" destId="{47A8C54D-7F34-49E1-B5CC-4E304E30A53E}" srcOrd="1" destOrd="0" presId="urn:microsoft.com/office/officeart/2005/8/layout/radial5"/>
    <dgm:cxn modelId="{7CECCF40-64F5-420A-9A6E-4FBA189AABFE}" type="presOf" srcId="{EC5F1EF2-0A32-4597-999C-90861EEF476C}" destId="{176AA4F4-1B3A-4BF4-AC53-D3B79509ED4B}" srcOrd="0" destOrd="0" presId="urn:microsoft.com/office/officeart/2005/8/layout/radial5"/>
    <dgm:cxn modelId="{A1DC0767-F49A-40CA-86C6-D63426DAA7D1}" type="presOf" srcId="{AE4D3C8E-70D7-4F6E-9D06-EED9DC51E52B}" destId="{B5CB5C11-4081-4D98-AC34-3D9BB7C1E755}" srcOrd="0" destOrd="0" presId="urn:microsoft.com/office/officeart/2005/8/layout/radial5"/>
    <dgm:cxn modelId="{92B65747-B2F3-4883-9B31-E792F8991118}" srcId="{61146715-F80B-4F9A-8B21-EDC8525C71CA}" destId="{D8C49780-A446-4019-A4C4-7B6915B235BC}" srcOrd="0" destOrd="0" parTransId="{28D231D5-4D4E-440E-AC3F-1F5CC0FB5B66}" sibTransId="{B7B04A4C-D59A-45BD-9161-DC2B4157FF85}"/>
    <dgm:cxn modelId="{2AED1B49-2CDA-4AA0-AD1C-664561A16DEC}" srcId="{D8C49780-A446-4019-A4C4-7B6915B235BC}" destId="{3CC042BA-BFEC-4B47-8445-C51C014C5325}" srcOrd="4" destOrd="0" parTransId="{EC5F1EF2-0A32-4597-999C-90861EEF476C}" sibTransId="{9BCAA452-EE28-4DEB-A1DB-0217E85B7BE4}"/>
    <dgm:cxn modelId="{16274A4D-844C-492A-9D29-5D7E0A3CE740}" type="presOf" srcId="{7EFECCF0-86AC-46E0-8E7E-96D3094D41E2}" destId="{61E63007-FE5C-4BCB-939C-4F691735EE04}" srcOrd="1" destOrd="0" presId="urn:microsoft.com/office/officeart/2005/8/layout/radial5"/>
    <dgm:cxn modelId="{4CFFDF71-CFCE-4457-A269-4B08E6C60A90}" type="presOf" srcId="{961B4743-8CFB-4D2C-9E18-DBB32CD8AF69}" destId="{2F7A521F-C21A-4551-AB87-9B449B4E00AB}" srcOrd="0" destOrd="0" presId="urn:microsoft.com/office/officeart/2005/8/layout/radial5"/>
    <dgm:cxn modelId="{BB5D117E-57E4-4EF4-83EA-0CD045A51C1B}" type="presOf" srcId="{1ADE6799-FB63-4301-96D5-2C5E6096D12E}" destId="{43A73F6D-8844-4381-B552-3B2F8E9BC8CA}" srcOrd="0" destOrd="0" presId="urn:microsoft.com/office/officeart/2005/8/layout/radial5"/>
    <dgm:cxn modelId="{48A8AB93-47EF-402C-8A66-CB8277B1932A}" type="presOf" srcId="{5156F528-582A-4141-ADA8-40B2E72A54CF}" destId="{3FFB5D7C-CFA4-402E-951A-237E709E4A83}" srcOrd="0" destOrd="0" presId="urn:microsoft.com/office/officeart/2005/8/layout/radial5"/>
    <dgm:cxn modelId="{A4A526AF-F384-4AC6-A99E-C5027115D53F}" type="presOf" srcId="{767E8DCB-2E01-42EC-94A0-1B6CF93D53A6}" destId="{A29A76EA-6C81-4E8C-A298-18DA18917DC7}" srcOrd="0" destOrd="0" presId="urn:microsoft.com/office/officeart/2005/8/layout/radial5"/>
    <dgm:cxn modelId="{D7B287AF-AC4A-4CD2-A526-08A0FD515236}" type="presOf" srcId="{7EFECCF0-86AC-46E0-8E7E-96D3094D41E2}" destId="{7D881A4E-7B44-4D81-8DDA-D143DCEFCEA2}" srcOrd="0" destOrd="0" presId="urn:microsoft.com/office/officeart/2005/8/layout/radial5"/>
    <dgm:cxn modelId="{390AA0C7-9E81-4399-9946-E350CD5297FF}" srcId="{D8C49780-A446-4019-A4C4-7B6915B235BC}" destId="{767E8DCB-2E01-42EC-94A0-1B6CF93D53A6}" srcOrd="1" destOrd="0" parTransId="{1ADE6799-FB63-4301-96D5-2C5E6096D12E}" sibTransId="{814B7910-E37B-49E6-A106-5CA963A74854}"/>
    <dgm:cxn modelId="{FA6487C8-0AA4-4B5E-96E2-2B68B161B42C}" type="presOf" srcId="{EC5F1EF2-0A32-4597-999C-90861EEF476C}" destId="{3C75C4A0-510C-4383-84CA-D3CDEB039E67}" srcOrd="1" destOrd="0" presId="urn:microsoft.com/office/officeart/2005/8/layout/radial5"/>
    <dgm:cxn modelId="{A7F4B2CB-A9BC-4D7C-9146-34F9ADF1BFC5}" type="presOf" srcId="{61146715-F80B-4F9A-8B21-EDC8525C71CA}" destId="{20B45036-523D-4178-A7EF-51832EF215ED}" srcOrd="0" destOrd="0" presId="urn:microsoft.com/office/officeart/2005/8/layout/radial5"/>
    <dgm:cxn modelId="{392488DD-12B1-44CD-AF7D-A9CECECD15CA}" srcId="{D8C49780-A446-4019-A4C4-7B6915B235BC}" destId="{5156F528-582A-4141-ADA8-40B2E72A54CF}" srcOrd="0" destOrd="0" parTransId="{961B4743-8CFB-4D2C-9E18-DBB32CD8AF69}" sibTransId="{20BDAC65-88B3-43B7-B39A-03C13DEA965B}"/>
    <dgm:cxn modelId="{DD596BE5-DC74-4B9F-9269-12161207AFAE}" srcId="{D8C49780-A446-4019-A4C4-7B6915B235BC}" destId="{AE4D3C8E-70D7-4F6E-9D06-EED9DC51E52B}" srcOrd="2" destOrd="0" parTransId="{7EFECCF0-86AC-46E0-8E7E-96D3094D41E2}" sibTransId="{C448F37B-4985-4ED6-B50C-CC23BD383D2B}"/>
    <dgm:cxn modelId="{A044C9F0-F7A7-4A5B-9592-A69A96DFD953}" type="presOf" srcId="{3CC042BA-BFEC-4B47-8445-C51C014C5325}" destId="{3263963B-425F-43D8-B392-A26425C50C95}" srcOrd="0" destOrd="0" presId="urn:microsoft.com/office/officeart/2005/8/layout/radial5"/>
    <dgm:cxn modelId="{4BFDC3C3-9E14-411F-92D7-125FA2362C89}" type="presParOf" srcId="{20B45036-523D-4178-A7EF-51832EF215ED}" destId="{1F31EB89-4F11-44ED-9AEE-575734CF726E}" srcOrd="0" destOrd="0" presId="urn:microsoft.com/office/officeart/2005/8/layout/radial5"/>
    <dgm:cxn modelId="{25F87CAE-9B36-4B27-9303-C2E4D67E8D73}" type="presParOf" srcId="{20B45036-523D-4178-A7EF-51832EF215ED}" destId="{2F7A521F-C21A-4551-AB87-9B449B4E00AB}" srcOrd="1" destOrd="0" presId="urn:microsoft.com/office/officeart/2005/8/layout/radial5"/>
    <dgm:cxn modelId="{C06AAD2C-C884-462A-A4F8-096671FCA370}" type="presParOf" srcId="{2F7A521F-C21A-4551-AB87-9B449B4E00AB}" destId="{5DD814E8-E871-47EF-873C-5825C13F832B}" srcOrd="0" destOrd="0" presId="urn:microsoft.com/office/officeart/2005/8/layout/radial5"/>
    <dgm:cxn modelId="{BCCE957D-F7B0-4687-A0AC-56B1A1ACCAF3}" type="presParOf" srcId="{20B45036-523D-4178-A7EF-51832EF215ED}" destId="{3FFB5D7C-CFA4-402E-951A-237E709E4A83}" srcOrd="2" destOrd="0" presId="urn:microsoft.com/office/officeart/2005/8/layout/radial5"/>
    <dgm:cxn modelId="{D531EF49-971F-4B08-8C08-BA6260DE0D23}" type="presParOf" srcId="{20B45036-523D-4178-A7EF-51832EF215ED}" destId="{43A73F6D-8844-4381-B552-3B2F8E9BC8CA}" srcOrd="3" destOrd="0" presId="urn:microsoft.com/office/officeart/2005/8/layout/radial5"/>
    <dgm:cxn modelId="{89FFE3D6-3B4A-4206-B151-9F285BCF5555}" type="presParOf" srcId="{43A73F6D-8844-4381-B552-3B2F8E9BC8CA}" destId="{81E20010-200E-422C-B824-05A4B2E31192}" srcOrd="0" destOrd="0" presId="urn:microsoft.com/office/officeart/2005/8/layout/radial5"/>
    <dgm:cxn modelId="{F5839B2A-CE56-4E81-AEDA-123424537F1B}" type="presParOf" srcId="{20B45036-523D-4178-A7EF-51832EF215ED}" destId="{A29A76EA-6C81-4E8C-A298-18DA18917DC7}" srcOrd="4" destOrd="0" presId="urn:microsoft.com/office/officeart/2005/8/layout/radial5"/>
    <dgm:cxn modelId="{ADB681AA-FCAF-4D5B-BC87-39CCD277C128}" type="presParOf" srcId="{20B45036-523D-4178-A7EF-51832EF215ED}" destId="{7D881A4E-7B44-4D81-8DDA-D143DCEFCEA2}" srcOrd="5" destOrd="0" presId="urn:microsoft.com/office/officeart/2005/8/layout/radial5"/>
    <dgm:cxn modelId="{1A2B3044-45AA-4162-BE61-FCBCDBDC43AD}" type="presParOf" srcId="{7D881A4E-7B44-4D81-8DDA-D143DCEFCEA2}" destId="{61E63007-FE5C-4BCB-939C-4F691735EE04}" srcOrd="0" destOrd="0" presId="urn:microsoft.com/office/officeart/2005/8/layout/radial5"/>
    <dgm:cxn modelId="{1585CB90-C65C-48BC-98CD-A37F98CE1177}" type="presParOf" srcId="{20B45036-523D-4178-A7EF-51832EF215ED}" destId="{B5CB5C11-4081-4D98-AC34-3D9BB7C1E755}" srcOrd="6" destOrd="0" presId="urn:microsoft.com/office/officeart/2005/8/layout/radial5"/>
    <dgm:cxn modelId="{80C8DAB3-C7A9-4E79-A03E-A1F5BFE4C2C8}" type="presParOf" srcId="{20B45036-523D-4178-A7EF-51832EF215ED}" destId="{246CADD3-374C-4233-8897-F55E23ABCB8F}" srcOrd="7" destOrd="0" presId="urn:microsoft.com/office/officeart/2005/8/layout/radial5"/>
    <dgm:cxn modelId="{9617818F-3F14-45B9-91CA-D290C202BC0D}" type="presParOf" srcId="{246CADD3-374C-4233-8897-F55E23ABCB8F}" destId="{47A8C54D-7F34-49E1-B5CC-4E304E30A53E}" srcOrd="0" destOrd="0" presId="urn:microsoft.com/office/officeart/2005/8/layout/radial5"/>
    <dgm:cxn modelId="{C47B9838-5461-4CBF-9B9B-9501BA37E104}" type="presParOf" srcId="{20B45036-523D-4178-A7EF-51832EF215ED}" destId="{7F74C23B-53C1-4F93-B4BF-611A5068A121}" srcOrd="8" destOrd="0" presId="urn:microsoft.com/office/officeart/2005/8/layout/radial5"/>
    <dgm:cxn modelId="{8A0AA819-7211-41A9-8221-F2683EC16150}" type="presParOf" srcId="{20B45036-523D-4178-A7EF-51832EF215ED}" destId="{176AA4F4-1B3A-4BF4-AC53-D3B79509ED4B}" srcOrd="9" destOrd="0" presId="urn:microsoft.com/office/officeart/2005/8/layout/radial5"/>
    <dgm:cxn modelId="{01C32760-92AA-43EC-AC71-134118869EB1}" type="presParOf" srcId="{176AA4F4-1B3A-4BF4-AC53-D3B79509ED4B}" destId="{3C75C4A0-510C-4383-84CA-D3CDEB039E67}" srcOrd="0" destOrd="0" presId="urn:microsoft.com/office/officeart/2005/8/layout/radial5"/>
    <dgm:cxn modelId="{0569EE6B-7268-4617-9F19-9C4D30EA0E4D}" type="presParOf" srcId="{20B45036-523D-4178-A7EF-51832EF215ED}" destId="{3263963B-425F-43D8-B392-A26425C50C95}" srcOrd="10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1146715-F80B-4F9A-8B21-EDC8525C71CA}" type="doc">
      <dgm:prSet loTypeId="urn:microsoft.com/office/officeart/2005/8/layout/radial5" loCatId="cycle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sk-SK"/>
        </a:p>
      </dgm:t>
    </dgm:pt>
    <dgm:pt modelId="{5156F528-582A-4141-ADA8-40B2E72A54CF}">
      <dgm:prSet phldrT="[Text]"/>
      <dgm:spPr>
        <a:solidFill>
          <a:schemeClr val="tx1"/>
        </a:solidFill>
      </dgm:spPr>
      <dgm:t>
        <a:bodyPr/>
        <a:lstStyle/>
        <a:p>
          <a:r>
            <a:rPr lang="sk-SK" b="1" dirty="0"/>
            <a:t>Príspevok na stravu </a:t>
          </a:r>
          <a:br>
            <a:rPr lang="sk-SK" b="1" dirty="0"/>
          </a:br>
          <a:r>
            <a:rPr lang="sk-SK" b="1" dirty="0"/>
            <a:t>4 Eur/</a:t>
          </a:r>
          <a:br>
            <a:rPr lang="sk-SK" b="1" dirty="0"/>
          </a:br>
          <a:r>
            <a:rPr lang="sk-SK" b="1" dirty="0"/>
            <a:t>pracovný deň</a:t>
          </a:r>
        </a:p>
      </dgm:t>
    </dgm:pt>
    <dgm:pt modelId="{961B4743-8CFB-4D2C-9E18-DBB32CD8AF69}" type="parTrans" cxnId="{392488DD-12B1-44CD-AF7D-A9CECECD15CA}">
      <dgm:prSet/>
      <dgm:spPr>
        <a:solidFill>
          <a:schemeClr val="tx1">
            <a:lumMod val="20000"/>
            <a:lumOff val="80000"/>
          </a:schemeClr>
        </a:solidFill>
        <a:ln>
          <a:solidFill>
            <a:schemeClr val="tx1"/>
          </a:solidFill>
        </a:ln>
      </dgm:spPr>
      <dgm:t>
        <a:bodyPr/>
        <a:lstStyle/>
        <a:p>
          <a:endParaRPr lang="sk-SK" b="1"/>
        </a:p>
      </dgm:t>
    </dgm:pt>
    <dgm:pt modelId="{20BDAC65-88B3-43B7-B39A-03C13DEA965B}" type="sibTrans" cxnId="{392488DD-12B1-44CD-AF7D-A9CECECD15CA}">
      <dgm:prSet/>
      <dgm:spPr/>
      <dgm:t>
        <a:bodyPr/>
        <a:lstStyle/>
        <a:p>
          <a:endParaRPr lang="sk-SK" b="1"/>
        </a:p>
      </dgm:t>
    </dgm:pt>
    <dgm:pt modelId="{767E8DCB-2E01-42EC-94A0-1B6CF93D53A6}">
      <dgm:prSet phldrT="[Text]"/>
      <dgm:spPr>
        <a:solidFill>
          <a:schemeClr val="tx1"/>
        </a:solidFill>
      </dgm:spPr>
      <dgm:t>
        <a:bodyPr/>
        <a:lstStyle/>
        <a:p>
          <a:r>
            <a:rPr lang="sk-SK" b="1" dirty="0"/>
            <a:t>Hodnotné darčeky</a:t>
          </a:r>
        </a:p>
      </dgm:t>
    </dgm:pt>
    <dgm:pt modelId="{1ADE6799-FB63-4301-96D5-2C5E6096D12E}" type="parTrans" cxnId="{390AA0C7-9E81-4399-9946-E350CD5297FF}">
      <dgm:prSet/>
      <dgm:spPr>
        <a:solidFill>
          <a:schemeClr val="tx1">
            <a:lumMod val="20000"/>
            <a:lumOff val="80000"/>
          </a:schemeClr>
        </a:solidFill>
        <a:ln>
          <a:solidFill>
            <a:schemeClr val="tx1"/>
          </a:solidFill>
        </a:ln>
      </dgm:spPr>
      <dgm:t>
        <a:bodyPr/>
        <a:lstStyle/>
        <a:p>
          <a:endParaRPr lang="sk-SK" b="1"/>
        </a:p>
      </dgm:t>
    </dgm:pt>
    <dgm:pt modelId="{814B7910-E37B-49E6-A106-5CA963A74854}" type="sibTrans" cxnId="{390AA0C7-9E81-4399-9946-E350CD5297FF}">
      <dgm:prSet/>
      <dgm:spPr/>
      <dgm:t>
        <a:bodyPr/>
        <a:lstStyle/>
        <a:p>
          <a:endParaRPr lang="sk-SK" b="1"/>
        </a:p>
      </dgm:t>
    </dgm:pt>
    <dgm:pt modelId="{3CC042BA-BFEC-4B47-8445-C51C014C5325}">
      <dgm:prSet phldrT="[Text]"/>
      <dgm:spPr>
        <a:solidFill>
          <a:schemeClr val="tx1"/>
        </a:solidFill>
      </dgm:spPr>
      <dgm:t>
        <a:bodyPr/>
        <a:lstStyle/>
        <a:p>
          <a:r>
            <a:rPr lang="sk-SK" b="1" dirty="0"/>
            <a:t>Prospechové štipendium </a:t>
          </a:r>
          <a:br>
            <a:rPr lang="sk-SK" b="1" dirty="0"/>
          </a:br>
          <a:r>
            <a:rPr lang="sk-SK" b="1" dirty="0"/>
            <a:t>250 – 500 Eur ročne</a:t>
          </a:r>
        </a:p>
      </dgm:t>
    </dgm:pt>
    <dgm:pt modelId="{EC5F1EF2-0A32-4597-999C-90861EEF476C}" type="parTrans" cxnId="{2AED1B49-2CDA-4AA0-AD1C-664561A16DEC}">
      <dgm:prSet/>
      <dgm:spPr>
        <a:solidFill>
          <a:schemeClr val="tx1">
            <a:lumMod val="20000"/>
            <a:lumOff val="80000"/>
          </a:schemeClr>
        </a:solidFill>
        <a:ln>
          <a:solidFill>
            <a:schemeClr val="tx1"/>
          </a:solidFill>
        </a:ln>
      </dgm:spPr>
      <dgm:t>
        <a:bodyPr/>
        <a:lstStyle/>
        <a:p>
          <a:endParaRPr lang="sk-SK" b="1"/>
        </a:p>
      </dgm:t>
    </dgm:pt>
    <dgm:pt modelId="{9BCAA452-EE28-4DEB-A1DB-0217E85B7BE4}" type="sibTrans" cxnId="{2AED1B49-2CDA-4AA0-AD1C-664561A16DEC}">
      <dgm:prSet/>
      <dgm:spPr/>
      <dgm:t>
        <a:bodyPr/>
        <a:lstStyle/>
        <a:p>
          <a:endParaRPr lang="sk-SK" b="1"/>
        </a:p>
      </dgm:t>
    </dgm:pt>
    <dgm:pt modelId="{AE4D3C8E-70D7-4F6E-9D06-EED9DC51E52B}">
      <dgm:prSet phldrT="[Text]"/>
      <dgm:spPr>
        <a:solidFill>
          <a:schemeClr val="tx1"/>
        </a:solidFill>
      </dgm:spPr>
      <dgm:t>
        <a:bodyPr/>
        <a:lstStyle/>
        <a:p>
          <a:r>
            <a:rPr lang="sk-SK" b="1" dirty="0"/>
            <a:t>Školské a pracovné pomôcky</a:t>
          </a:r>
        </a:p>
      </dgm:t>
    </dgm:pt>
    <dgm:pt modelId="{7EFECCF0-86AC-46E0-8E7E-96D3094D41E2}" type="parTrans" cxnId="{DD596BE5-DC74-4B9F-9269-12161207AFAE}">
      <dgm:prSet/>
      <dgm:spPr>
        <a:solidFill>
          <a:schemeClr val="tx1">
            <a:lumMod val="20000"/>
            <a:lumOff val="80000"/>
          </a:schemeClr>
        </a:solidFill>
        <a:ln>
          <a:solidFill>
            <a:schemeClr val="tx1"/>
          </a:solidFill>
        </a:ln>
      </dgm:spPr>
      <dgm:t>
        <a:bodyPr/>
        <a:lstStyle/>
        <a:p>
          <a:endParaRPr lang="sk-SK" b="1"/>
        </a:p>
      </dgm:t>
    </dgm:pt>
    <dgm:pt modelId="{C448F37B-4985-4ED6-B50C-CC23BD383D2B}" type="sibTrans" cxnId="{DD596BE5-DC74-4B9F-9269-12161207AFAE}">
      <dgm:prSet/>
      <dgm:spPr/>
      <dgm:t>
        <a:bodyPr/>
        <a:lstStyle/>
        <a:p>
          <a:endParaRPr lang="sk-SK" b="1"/>
        </a:p>
      </dgm:t>
    </dgm:pt>
    <dgm:pt modelId="{441BAA9E-E000-40F2-B3ED-CDB20C7E48D1}">
      <dgm:prSet phldrT="[Text]"/>
      <dgm:spPr>
        <a:solidFill>
          <a:schemeClr val="tx1"/>
        </a:solidFill>
      </dgm:spPr>
      <dgm:t>
        <a:bodyPr/>
        <a:lstStyle/>
        <a:p>
          <a:r>
            <a:rPr lang="sk-SK" b="1" dirty="0"/>
            <a:t>Finančné ohodnotenie 3,50 – 4,40</a:t>
          </a:r>
          <a:br>
            <a:rPr lang="sk-SK" b="1" dirty="0"/>
          </a:br>
          <a:r>
            <a:rPr lang="sk-SK" b="1" dirty="0"/>
            <a:t>Eur/hod</a:t>
          </a:r>
        </a:p>
      </dgm:t>
    </dgm:pt>
    <dgm:pt modelId="{1C52B905-948C-448A-A874-1E769B469676}" type="parTrans" cxnId="{D7516A20-8392-486E-A5ED-4E006965E54E}">
      <dgm:prSet/>
      <dgm:spPr>
        <a:solidFill>
          <a:schemeClr val="tx1">
            <a:lumMod val="20000"/>
            <a:lumOff val="80000"/>
          </a:schemeClr>
        </a:solidFill>
        <a:ln>
          <a:solidFill>
            <a:schemeClr val="tx1"/>
          </a:solidFill>
        </a:ln>
      </dgm:spPr>
      <dgm:t>
        <a:bodyPr/>
        <a:lstStyle/>
        <a:p>
          <a:endParaRPr lang="sk-SK" b="1"/>
        </a:p>
      </dgm:t>
    </dgm:pt>
    <dgm:pt modelId="{5BF7B814-B0B5-4DC1-BD4C-FE9A8E8CAFAD}" type="sibTrans" cxnId="{D7516A20-8392-486E-A5ED-4E006965E54E}">
      <dgm:prSet/>
      <dgm:spPr/>
      <dgm:t>
        <a:bodyPr/>
        <a:lstStyle/>
        <a:p>
          <a:endParaRPr lang="sk-SK" b="1"/>
        </a:p>
      </dgm:t>
    </dgm:pt>
    <dgm:pt modelId="{D8C49780-A446-4019-A4C4-7B6915B235BC}">
      <dgm:prSet phldrT="[Text]"/>
      <dgm:spPr>
        <a:solidFill>
          <a:schemeClr val="tx1">
            <a:lumMod val="20000"/>
            <a:lumOff val="80000"/>
          </a:schemeClr>
        </a:solidFill>
        <a:ln w="12700">
          <a:solidFill>
            <a:schemeClr val="tx1"/>
          </a:solidFill>
        </a:ln>
      </dgm:spPr>
      <dgm:t>
        <a:bodyPr/>
        <a:lstStyle/>
        <a:p>
          <a:r>
            <a:rPr lang="sk-SK" b="1" dirty="0">
              <a:solidFill>
                <a:schemeClr val="tx1"/>
              </a:solidFill>
            </a:rPr>
            <a:t>Odmeňovanie a  benefity</a:t>
          </a:r>
        </a:p>
      </dgm:t>
    </dgm:pt>
    <dgm:pt modelId="{B7B04A4C-D59A-45BD-9161-DC2B4157FF85}" type="sibTrans" cxnId="{92B65747-B2F3-4883-9B31-E792F8991118}">
      <dgm:prSet/>
      <dgm:spPr/>
      <dgm:t>
        <a:bodyPr/>
        <a:lstStyle/>
        <a:p>
          <a:endParaRPr lang="sk-SK" b="1"/>
        </a:p>
      </dgm:t>
    </dgm:pt>
    <dgm:pt modelId="{28D231D5-4D4E-440E-AC3F-1F5CC0FB5B66}" type="parTrans" cxnId="{92B65747-B2F3-4883-9B31-E792F8991118}">
      <dgm:prSet/>
      <dgm:spPr/>
      <dgm:t>
        <a:bodyPr/>
        <a:lstStyle/>
        <a:p>
          <a:endParaRPr lang="sk-SK" b="1"/>
        </a:p>
      </dgm:t>
    </dgm:pt>
    <dgm:pt modelId="{08DA6AD6-9E2C-4F0B-A6F2-213F9633B7BD}" type="pres">
      <dgm:prSet presAssocID="{61146715-F80B-4F9A-8B21-EDC8525C71CA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A6DDDCB1-5041-4691-B87A-CE65413DD119}" type="pres">
      <dgm:prSet presAssocID="{D8C49780-A446-4019-A4C4-7B6915B235BC}" presName="centerShape" presStyleLbl="node0" presStyleIdx="0" presStyleCnt="1"/>
      <dgm:spPr/>
    </dgm:pt>
    <dgm:pt modelId="{61478CD0-AE67-424D-BC3C-8F083716BA70}" type="pres">
      <dgm:prSet presAssocID="{961B4743-8CFB-4D2C-9E18-DBB32CD8AF69}" presName="parTrans" presStyleLbl="sibTrans2D1" presStyleIdx="0" presStyleCnt="5" custLinFactNeighborX="0"/>
      <dgm:spPr/>
    </dgm:pt>
    <dgm:pt modelId="{64346875-D515-456F-B796-782359E88566}" type="pres">
      <dgm:prSet presAssocID="{961B4743-8CFB-4D2C-9E18-DBB32CD8AF69}" presName="connectorText" presStyleLbl="sibTrans2D1" presStyleIdx="0" presStyleCnt="5"/>
      <dgm:spPr/>
    </dgm:pt>
    <dgm:pt modelId="{1741C381-7DB8-478B-99BA-5E7ADA5BA90F}" type="pres">
      <dgm:prSet presAssocID="{5156F528-582A-4141-ADA8-40B2E72A54CF}" presName="node" presStyleLbl="node1" presStyleIdx="0" presStyleCnt="5">
        <dgm:presLayoutVars>
          <dgm:bulletEnabled val="1"/>
        </dgm:presLayoutVars>
      </dgm:prSet>
      <dgm:spPr/>
    </dgm:pt>
    <dgm:pt modelId="{45D8CD89-4DFD-463F-9B4F-E0529FC76AE9}" type="pres">
      <dgm:prSet presAssocID="{1ADE6799-FB63-4301-96D5-2C5E6096D12E}" presName="parTrans" presStyleLbl="sibTrans2D1" presStyleIdx="1" presStyleCnt="5"/>
      <dgm:spPr/>
    </dgm:pt>
    <dgm:pt modelId="{B519DAFF-C92A-4E4D-807D-EDA815ED3B33}" type="pres">
      <dgm:prSet presAssocID="{1ADE6799-FB63-4301-96D5-2C5E6096D12E}" presName="connectorText" presStyleLbl="sibTrans2D1" presStyleIdx="1" presStyleCnt="5"/>
      <dgm:spPr/>
    </dgm:pt>
    <dgm:pt modelId="{82E4A026-4126-40EC-B06F-20285D1B1C23}" type="pres">
      <dgm:prSet presAssocID="{767E8DCB-2E01-42EC-94A0-1B6CF93D53A6}" presName="node" presStyleLbl="node1" presStyleIdx="1" presStyleCnt="5">
        <dgm:presLayoutVars>
          <dgm:bulletEnabled val="1"/>
        </dgm:presLayoutVars>
      </dgm:prSet>
      <dgm:spPr/>
    </dgm:pt>
    <dgm:pt modelId="{AE4658CD-E0B1-4AFE-A97D-FF08C0F78C6A}" type="pres">
      <dgm:prSet presAssocID="{7EFECCF0-86AC-46E0-8E7E-96D3094D41E2}" presName="parTrans" presStyleLbl="sibTrans2D1" presStyleIdx="2" presStyleCnt="5"/>
      <dgm:spPr/>
    </dgm:pt>
    <dgm:pt modelId="{3830B4FE-05E0-4649-B9F2-DAEDC4455302}" type="pres">
      <dgm:prSet presAssocID="{7EFECCF0-86AC-46E0-8E7E-96D3094D41E2}" presName="connectorText" presStyleLbl="sibTrans2D1" presStyleIdx="2" presStyleCnt="5"/>
      <dgm:spPr/>
    </dgm:pt>
    <dgm:pt modelId="{5414BDE0-6F43-485F-9DEF-F174963DDCEB}" type="pres">
      <dgm:prSet presAssocID="{AE4D3C8E-70D7-4F6E-9D06-EED9DC51E52B}" presName="node" presStyleLbl="node1" presStyleIdx="2" presStyleCnt="5">
        <dgm:presLayoutVars>
          <dgm:bulletEnabled val="1"/>
        </dgm:presLayoutVars>
      </dgm:prSet>
      <dgm:spPr/>
    </dgm:pt>
    <dgm:pt modelId="{9A7FF0D1-A40B-408A-888F-CD5838F82C22}" type="pres">
      <dgm:prSet presAssocID="{1C52B905-948C-448A-A874-1E769B469676}" presName="parTrans" presStyleLbl="sibTrans2D1" presStyleIdx="3" presStyleCnt="5"/>
      <dgm:spPr/>
    </dgm:pt>
    <dgm:pt modelId="{CEE8A588-A096-4E87-B909-77C7239DE9EC}" type="pres">
      <dgm:prSet presAssocID="{1C52B905-948C-448A-A874-1E769B469676}" presName="connectorText" presStyleLbl="sibTrans2D1" presStyleIdx="3" presStyleCnt="5"/>
      <dgm:spPr/>
    </dgm:pt>
    <dgm:pt modelId="{0F2ACB6B-ED56-414E-87A2-3FCB8C2B2BED}" type="pres">
      <dgm:prSet presAssocID="{441BAA9E-E000-40F2-B3ED-CDB20C7E48D1}" presName="node" presStyleLbl="node1" presStyleIdx="3" presStyleCnt="5">
        <dgm:presLayoutVars>
          <dgm:bulletEnabled val="1"/>
        </dgm:presLayoutVars>
      </dgm:prSet>
      <dgm:spPr/>
    </dgm:pt>
    <dgm:pt modelId="{41F6F531-9DCB-4BD7-874B-5B1757D3AC9A}" type="pres">
      <dgm:prSet presAssocID="{EC5F1EF2-0A32-4597-999C-90861EEF476C}" presName="parTrans" presStyleLbl="sibTrans2D1" presStyleIdx="4" presStyleCnt="5" custLinFactNeighborX="0"/>
      <dgm:spPr/>
    </dgm:pt>
    <dgm:pt modelId="{26F3A694-49F0-4B36-A05C-D6A8E5A42DF9}" type="pres">
      <dgm:prSet presAssocID="{EC5F1EF2-0A32-4597-999C-90861EEF476C}" presName="connectorText" presStyleLbl="sibTrans2D1" presStyleIdx="4" presStyleCnt="5"/>
      <dgm:spPr/>
    </dgm:pt>
    <dgm:pt modelId="{51EE8F61-5609-484F-9FD9-566304D2AF77}" type="pres">
      <dgm:prSet presAssocID="{3CC042BA-BFEC-4B47-8445-C51C014C5325}" presName="node" presStyleLbl="node1" presStyleIdx="4" presStyleCnt="5">
        <dgm:presLayoutVars>
          <dgm:bulletEnabled val="1"/>
        </dgm:presLayoutVars>
      </dgm:prSet>
      <dgm:spPr/>
    </dgm:pt>
  </dgm:ptLst>
  <dgm:cxnLst>
    <dgm:cxn modelId="{A59D4C09-05E0-4551-B7B1-5EB8A85F32E2}" type="presOf" srcId="{AE4D3C8E-70D7-4F6E-9D06-EED9DC51E52B}" destId="{5414BDE0-6F43-485F-9DEF-F174963DDCEB}" srcOrd="0" destOrd="0" presId="urn:microsoft.com/office/officeart/2005/8/layout/radial5"/>
    <dgm:cxn modelId="{C0C8DE11-F84C-47BB-ADF9-E922596F7225}" type="presOf" srcId="{5156F528-582A-4141-ADA8-40B2E72A54CF}" destId="{1741C381-7DB8-478B-99BA-5E7ADA5BA90F}" srcOrd="0" destOrd="0" presId="urn:microsoft.com/office/officeart/2005/8/layout/radial5"/>
    <dgm:cxn modelId="{7FD2601B-69FE-4D41-AF68-CABB3D20ADE9}" type="presOf" srcId="{7EFECCF0-86AC-46E0-8E7E-96D3094D41E2}" destId="{AE4658CD-E0B1-4AFE-A97D-FF08C0F78C6A}" srcOrd="0" destOrd="0" presId="urn:microsoft.com/office/officeart/2005/8/layout/radial5"/>
    <dgm:cxn modelId="{A3DE211C-51C9-49ED-B68F-9DA2D40F338E}" type="presOf" srcId="{1C52B905-948C-448A-A874-1E769B469676}" destId="{9A7FF0D1-A40B-408A-888F-CD5838F82C22}" srcOrd="0" destOrd="0" presId="urn:microsoft.com/office/officeart/2005/8/layout/radial5"/>
    <dgm:cxn modelId="{D7516A20-8392-486E-A5ED-4E006965E54E}" srcId="{D8C49780-A446-4019-A4C4-7B6915B235BC}" destId="{441BAA9E-E000-40F2-B3ED-CDB20C7E48D1}" srcOrd="3" destOrd="0" parTransId="{1C52B905-948C-448A-A874-1E769B469676}" sibTransId="{5BF7B814-B0B5-4DC1-BD4C-FE9A8E8CAFAD}"/>
    <dgm:cxn modelId="{708D5235-2F41-46EA-B7EC-33B4D4CACCBD}" type="presOf" srcId="{EC5F1EF2-0A32-4597-999C-90861EEF476C}" destId="{41F6F531-9DCB-4BD7-874B-5B1757D3AC9A}" srcOrd="0" destOrd="0" presId="urn:microsoft.com/office/officeart/2005/8/layout/radial5"/>
    <dgm:cxn modelId="{0CA9B55B-9D43-4761-AFF6-A0BE84F4F322}" type="presOf" srcId="{441BAA9E-E000-40F2-B3ED-CDB20C7E48D1}" destId="{0F2ACB6B-ED56-414E-87A2-3FCB8C2B2BED}" srcOrd="0" destOrd="0" presId="urn:microsoft.com/office/officeart/2005/8/layout/radial5"/>
    <dgm:cxn modelId="{92B65747-B2F3-4883-9B31-E792F8991118}" srcId="{61146715-F80B-4F9A-8B21-EDC8525C71CA}" destId="{D8C49780-A446-4019-A4C4-7B6915B235BC}" srcOrd="0" destOrd="0" parTransId="{28D231D5-4D4E-440E-AC3F-1F5CC0FB5B66}" sibTransId="{B7B04A4C-D59A-45BD-9161-DC2B4157FF85}"/>
    <dgm:cxn modelId="{2AED1B49-2CDA-4AA0-AD1C-664561A16DEC}" srcId="{D8C49780-A446-4019-A4C4-7B6915B235BC}" destId="{3CC042BA-BFEC-4B47-8445-C51C014C5325}" srcOrd="4" destOrd="0" parTransId="{EC5F1EF2-0A32-4597-999C-90861EEF476C}" sibTransId="{9BCAA452-EE28-4DEB-A1DB-0217E85B7BE4}"/>
    <dgm:cxn modelId="{AF0A256B-695A-4E2D-955B-3E40B6FD8F3B}" type="presOf" srcId="{1ADE6799-FB63-4301-96D5-2C5E6096D12E}" destId="{B519DAFF-C92A-4E4D-807D-EDA815ED3B33}" srcOrd="1" destOrd="0" presId="urn:microsoft.com/office/officeart/2005/8/layout/radial5"/>
    <dgm:cxn modelId="{67E3E34B-FF76-4771-AA61-37CC9650AC9E}" type="presOf" srcId="{7EFECCF0-86AC-46E0-8E7E-96D3094D41E2}" destId="{3830B4FE-05E0-4649-B9F2-DAEDC4455302}" srcOrd="1" destOrd="0" presId="urn:microsoft.com/office/officeart/2005/8/layout/radial5"/>
    <dgm:cxn modelId="{6785804D-9CED-40AC-B316-3885C71D5FCF}" type="presOf" srcId="{1C52B905-948C-448A-A874-1E769B469676}" destId="{CEE8A588-A096-4E87-B909-77C7239DE9EC}" srcOrd="1" destOrd="0" presId="urn:microsoft.com/office/officeart/2005/8/layout/radial5"/>
    <dgm:cxn modelId="{563CF678-A981-4D21-BA84-F9C623353C75}" type="presOf" srcId="{767E8DCB-2E01-42EC-94A0-1B6CF93D53A6}" destId="{82E4A026-4126-40EC-B06F-20285D1B1C23}" srcOrd="0" destOrd="0" presId="urn:microsoft.com/office/officeart/2005/8/layout/radial5"/>
    <dgm:cxn modelId="{75724882-7773-4BE4-97F8-241EE4D05322}" type="presOf" srcId="{EC5F1EF2-0A32-4597-999C-90861EEF476C}" destId="{26F3A694-49F0-4B36-A05C-D6A8E5A42DF9}" srcOrd="1" destOrd="0" presId="urn:microsoft.com/office/officeart/2005/8/layout/radial5"/>
    <dgm:cxn modelId="{D342748B-97AA-4C15-B578-DC9BB5185C4B}" type="presOf" srcId="{1ADE6799-FB63-4301-96D5-2C5E6096D12E}" destId="{45D8CD89-4DFD-463F-9B4F-E0529FC76AE9}" srcOrd="0" destOrd="0" presId="urn:microsoft.com/office/officeart/2005/8/layout/radial5"/>
    <dgm:cxn modelId="{8E5579A9-7B86-44AE-A948-E0B5E9676A95}" type="presOf" srcId="{D8C49780-A446-4019-A4C4-7B6915B235BC}" destId="{A6DDDCB1-5041-4691-B87A-CE65413DD119}" srcOrd="0" destOrd="0" presId="urn:microsoft.com/office/officeart/2005/8/layout/radial5"/>
    <dgm:cxn modelId="{602504B5-4A2C-44B9-AA6E-7E8737CB8BF4}" type="presOf" srcId="{961B4743-8CFB-4D2C-9E18-DBB32CD8AF69}" destId="{64346875-D515-456F-B796-782359E88566}" srcOrd="1" destOrd="0" presId="urn:microsoft.com/office/officeart/2005/8/layout/radial5"/>
    <dgm:cxn modelId="{6D5E5EB6-19E7-4FCE-9812-DA350BA48B57}" type="presOf" srcId="{3CC042BA-BFEC-4B47-8445-C51C014C5325}" destId="{51EE8F61-5609-484F-9FD9-566304D2AF77}" srcOrd="0" destOrd="0" presId="urn:microsoft.com/office/officeart/2005/8/layout/radial5"/>
    <dgm:cxn modelId="{390AA0C7-9E81-4399-9946-E350CD5297FF}" srcId="{D8C49780-A446-4019-A4C4-7B6915B235BC}" destId="{767E8DCB-2E01-42EC-94A0-1B6CF93D53A6}" srcOrd="1" destOrd="0" parTransId="{1ADE6799-FB63-4301-96D5-2C5E6096D12E}" sibTransId="{814B7910-E37B-49E6-A106-5CA963A74854}"/>
    <dgm:cxn modelId="{3CF75ACF-25D6-43AD-A096-59A7E96AF914}" type="presOf" srcId="{961B4743-8CFB-4D2C-9E18-DBB32CD8AF69}" destId="{61478CD0-AE67-424D-BC3C-8F083716BA70}" srcOrd="0" destOrd="0" presId="urn:microsoft.com/office/officeart/2005/8/layout/radial5"/>
    <dgm:cxn modelId="{26FD2AD7-177E-4093-AA2B-1AB7ED2A9A3E}" type="presOf" srcId="{61146715-F80B-4F9A-8B21-EDC8525C71CA}" destId="{08DA6AD6-9E2C-4F0B-A6F2-213F9633B7BD}" srcOrd="0" destOrd="0" presId="urn:microsoft.com/office/officeart/2005/8/layout/radial5"/>
    <dgm:cxn modelId="{392488DD-12B1-44CD-AF7D-A9CECECD15CA}" srcId="{D8C49780-A446-4019-A4C4-7B6915B235BC}" destId="{5156F528-582A-4141-ADA8-40B2E72A54CF}" srcOrd="0" destOrd="0" parTransId="{961B4743-8CFB-4D2C-9E18-DBB32CD8AF69}" sibTransId="{20BDAC65-88B3-43B7-B39A-03C13DEA965B}"/>
    <dgm:cxn modelId="{DD596BE5-DC74-4B9F-9269-12161207AFAE}" srcId="{D8C49780-A446-4019-A4C4-7B6915B235BC}" destId="{AE4D3C8E-70D7-4F6E-9D06-EED9DC51E52B}" srcOrd="2" destOrd="0" parTransId="{7EFECCF0-86AC-46E0-8E7E-96D3094D41E2}" sibTransId="{C448F37B-4985-4ED6-B50C-CC23BD383D2B}"/>
    <dgm:cxn modelId="{E85F7D30-AF91-47A3-8CC5-998EA6464BEC}" type="presParOf" srcId="{08DA6AD6-9E2C-4F0B-A6F2-213F9633B7BD}" destId="{A6DDDCB1-5041-4691-B87A-CE65413DD119}" srcOrd="0" destOrd="0" presId="urn:microsoft.com/office/officeart/2005/8/layout/radial5"/>
    <dgm:cxn modelId="{DF6E7053-95F7-4A5A-B688-EC32261E820C}" type="presParOf" srcId="{08DA6AD6-9E2C-4F0B-A6F2-213F9633B7BD}" destId="{61478CD0-AE67-424D-BC3C-8F083716BA70}" srcOrd="1" destOrd="0" presId="urn:microsoft.com/office/officeart/2005/8/layout/radial5"/>
    <dgm:cxn modelId="{7BB2CCC2-8528-40E2-A269-5AD26513A7DC}" type="presParOf" srcId="{61478CD0-AE67-424D-BC3C-8F083716BA70}" destId="{64346875-D515-456F-B796-782359E88566}" srcOrd="0" destOrd="0" presId="urn:microsoft.com/office/officeart/2005/8/layout/radial5"/>
    <dgm:cxn modelId="{E256100F-1CB2-4DEC-A521-5988926F423A}" type="presParOf" srcId="{08DA6AD6-9E2C-4F0B-A6F2-213F9633B7BD}" destId="{1741C381-7DB8-478B-99BA-5E7ADA5BA90F}" srcOrd="2" destOrd="0" presId="urn:microsoft.com/office/officeart/2005/8/layout/radial5"/>
    <dgm:cxn modelId="{9D9B1CBD-2007-4988-BE5A-F9A36C5A4CBA}" type="presParOf" srcId="{08DA6AD6-9E2C-4F0B-A6F2-213F9633B7BD}" destId="{45D8CD89-4DFD-463F-9B4F-E0529FC76AE9}" srcOrd="3" destOrd="0" presId="urn:microsoft.com/office/officeart/2005/8/layout/radial5"/>
    <dgm:cxn modelId="{8B7EDC38-F0E7-4E44-AD81-58571B4870A5}" type="presParOf" srcId="{45D8CD89-4DFD-463F-9B4F-E0529FC76AE9}" destId="{B519DAFF-C92A-4E4D-807D-EDA815ED3B33}" srcOrd="0" destOrd="0" presId="urn:microsoft.com/office/officeart/2005/8/layout/radial5"/>
    <dgm:cxn modelId="{1DF67B3C-A157-4626-BFB1-F29012FB173F}" type="presParOf" srcId="{08DA6AD6-9E2C-4F0B-A6F2-213F9633B7BD}" destId="{82E4A026-4126-40EC-B06F-20285D1B1C23}" srcOrd="4" destOrd="0" presId="urn:microsoft.com/office/officeart/2005/8/layout/radial5"/>
    <dgm:cxn modelId="{E123B70A-A700-492E-88B5-C2F768047F00}" type="presParOf" srcId="{08DA6AD6-9E2C-4F0B-A6F2-213F9633B7BD}" destId="{AE4658CD-E0B1-4AFE-A97D-FF08C0F78C6A}" srcOrd="5" destOrd="0" presId="urn:microsoft.com/office/officeart/2005/8/layout/radial5"/>
    <dgm:cxn modelId="{893092A0-8127-4F01-9C0E-217E2F74E717}" type="presParOf" srcId="{AE4658CD-E0B1-4AFE-A97D-FF08C0F78C6A}" destId="{3830B4FE-05E0-4649-B9F2-DAEDC4455302}" srcOrd="0" destOrd="0" presId="urn:microsoft.com/office/officeart/2005/8/layout/radial5"/>
    <dgm:cxn modelId="{15BE129F-096C-400F-954D-43E26E42405A}" type="presParOf" srcId="{08DA6AD6-9E2C-4F0B-A6F2-213F9633B7BD}" destId="{5414BDE0-6F43-485F-9DEF-F174963DDCEB}" srcOrd="6" destOrd="0" presId="urn:microsoft.com/office/officeart/2005/8/layout/radial5"/>
    <dgm:cxn modelId="{70DBDDD2-930C-4EFA-B2F5-C6829F5054FB}" type="presParOf" srcId="{08DA6AD6-9E2C-4F0B-A6F2-213F9633B7BD}" destId="{9A7FF0D1-A40B-408A-888F-CD5838F82C22}" srcOrd="7" destOrd="0" presId="urn:microsoft.com/office/officeart/2005/8/layout/radial5"/>
    <dgm:cxn modelId="{9F88B6F7-34E1-4ED2-A86B-7E5D1117F714}" type="presParOf" srcId="{9A7FF0D1-A40B-408A-888F-CD5838F82C22}" destId="{CEE8A588-A096-4E87-B909-77C7239DE9EC}" srcOrd="0" destOrd="0" presId="urn:microsoft.com/office/officeart/2005/8/layout/radial5"/>
    <dgm:cxn modelId="{16443E27-852D-48BA-A969-66FF87707392}" type="presParOf" srcId="{08DA6AD6-9E2C-4F0B-A6F2-213F9633B7BD}" destId="{0F2ACB6B-ED56-414E-87A2-3FCB8C2B2BED}" srcOrd="8" destOrd="0" presId="urn:microsoft.com/office/officeart/2005/8/layout/radial5"/>
    <dgm:cxn modelId="{ED003DD0-380F-4A98-BFC5-6D5D1CC7563C}" type="presParOf" srcId="{08DA6AD6-9E2C-4F0B-A6F2-213F9633B7BD}" destId="{41F6F531-9DCB-4BD7-874B-5B1757D3AC9A}" srcOrd="9" destOrd="0" presId="urn:microsoft.com/office/officeart/2005/8/layout/radial5"/>
    <dgm:cxn modelId="{D7BA1644-4DE8-4088-B74B-0F7CACB2525C}" type="presParOf" srcId="{41F6F531-9DCB-4BD7-874B-5B1757D3AC9A}" destId="{26F3A694-49F0-4B36-A05C-D6A8E5A42DF9}" srcOrd="0" destOrd="0" presId="urn:microsoft.com/office/officeart/2005/8/layout/radial5"/>
    <dgm:cxn modelId="{B3C00F32-75F6-4B71-B3A3-D4A6C1D4B2BF}" type="presParOf" srcId="{08DA6AD6-9E2C-4F0B-A6F2-213F9633B7BD}" destId="{51EE8F61-5609-484F-9FD9-566304D2AF77}" srcOrd="10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C2C9E7F-E61E-471A-86CB-168D6746FA95}" type="doc">
      <dgm:prSet loTypeId="urn:microsoft.com/office/officeart/2005/8/layout/hierarchy2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sk-SK"/>
        </a:p>
      </dgm:t>
    </dgm:pt>
    <dgm:pt modelId="{E1F3C8A1-1921-4AF2-BF45-95B925736CDA}">
      <dgm:prSet phldrT="[Text]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>
        <a:solidFill>
          <a:schemeClr val="tx1"/>
        </a:solidFill>
      </dgm:spPr>
      <dgm:t>
        <a:bodyPr/>
        <a:lstStyle/>
        <a:p>
          <a:r>
            <a:rPr lang="sk-SK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Absolventi duálneho vzdelávania</a:t>
          </a:r>
        </a:p>
      </dgm:t>
    </dgm:pt>
    <dgm:pt modelId="{674A83B6-D55D-4A05-8C41-0D66E7DD88C2}" type="parTrans" cxnId="{1A0280F4-5787-4FCC-B538-903E230AED55}">
      <dgm:prSet/>
      <dgm:spPr/>
      <dgm:t>
        <a:bodyPr/>
        <a:lstStyle/>
        <a:p>
          <a:endParaRPr lang="sk-SK"/>
        </a:p>
      </dgm:t>
    </dgm:pt>
    <dgm:pt modelId="{DE0B6C14-D3A0-4265-BC53-816A6957DBEA}" type="sibTrans" cxnId="{1A0280F4-5787-4FCC-B538-903E230AED55}">
      <dgm:prSet/>
      <dgm:spPr/>
      <dgm:t>
        <a:bodyPr/>
        <a:lstStyle/>
        <a:p>
          <a:endParaRPr lang="sk-SK"/>
        </a:p>
      </dgm:t>
    </dgm:pt>
    <dgm:pt modelId="{815294CB-3C67-4108-8D2B-67642FEB78AD}">
      <dgm:prSet phldrT="[Text]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>
        <a:solidFill>
          <a:schemeClr val="tx1"/>
        </a:solidFill>
      </dgm:spPr>
      <dgm:t>
        <a:bodyPr/>
        <a:lstStyle/>
        <a:p>
          <a:r>
            <a:rPr lang="sk-SK" b="1" dirty="0"/>
            <a:t>Prechod na TPP</a:t>
          </a:r>
        </a:p>
      </dgm:t>
    </dgm:pt>
    <dgm:pt modelId="{BA660B37-0F22-4B0A-844E-38C4E04457EE}" type="parTrans" cxnId="{E539D946-03E8-437B-8289-01FD6305552A}">
      <dgm:prSet/>
      <dgm:spPr/>
      <dgm:t>
        <a:bodyPr/>
        <a:lstStyle/>
        <a:p>
          <a:endParaRPr lang="sk-SK"/>
        </a:p>
      </dgm:t>
    </dgm:pt>
    <dgm:pt modelId="{317E4736-79A7-4716-91BD-B0017C5D1BC4}" type="sibTrans" cxnId="{E539D946-03E8-437B-8289-01FD6305552A}">
      <dgm:prSet/>
      <dgm:spPr/>
      <dgm:t>
        <a:bodyPr/>
        <a:lstStyle/>
        <a:p>
          <a:endParaRPr lang="sk-SK"/>
        </a:p>
      </dgm:t>
    </dgm:pt>
    <dgm:pt modelId="{F4032F81-8333-4D89-965E-55898ECAE4F6}">
      <dgm:prSet phldrT="[Text]"/>
      <dgm:spPr>
        <a:solidFill>
          <a:schemeClr val="tx1"/>
        </a:solidFill>
      </dgm:spPr>
      <dgm:t>
        <a:bodyPr/>
        <a:lstStyle/>
        <a:p>
          <a:r>
            <a:rPr lang="sk-SK" b="1" dirty="0"/>
            <a:t>PP</a:t>
          </a:r>
        </a:p>
      </dgm:t>
    </dgm:pt>
    <dgm:pt modelId="{16CE650E-FA4B-4B9B-A044-4748184DF952}" type="parTrans" cxnId="{F8228F49-D8AF-4275-82CB-E92F4EBBEF2D}">
      <dgm:prSet/>
      <dgm:spPr/>
      <dgm:t>
        <a:bodyPr/>
        <a:lstStyle/>
        <a:p>
          <a:endParaRPr lang="sk-SK"/>
        </a:p>
      </dgm:t>
    </dgm:pt>
    <dgm:pt modelId="{CC4A3AD7-265C-4404-B287-306BC2449535}" type="sibTrans" cxnId="{F8228F49-D8AF-4275-82CB-E92F4EBBEF2D}">
      <dgm:prSet/>
      <dgm:spPr/>
      <dgm:t>
        <a:bodyPr/>
        <a:lstStyle/>
        <a:p>
          <a:endParaRPr lang="sk-SK"/>
        </a:p>
      </dgm:t>
    </dgm:pt>
    <dgm:pt modelId="{7AB9E9E2-2633-483D-9AEA-CF0E1C67E2A6}">
      <dgm:prSet phldrT="[Text]"/>
      <dgm:spPr>
        <a:solidFill>
          <a:schemeClr val="tx1"/>
        </a:solidFill>
      </dgm:spPr>
      <dgm:t>
        <a:bodyPr/>
        <a:lstStyle/>
        <a:p>
          <a:r>
            <a:rPr lang="sk-SK" b="1" dirty="0"/>
            <a:t>AMP</a:t>
          </a:r>
        </a:p>
      </dgm:t>
    </dgm:pt>
    <dgm:pt modelId="{FB08F654-EFF9-444C-868B-DBC8751BCC0C}" type="parTrans" cxnId="{F04BE7F4-8089-4E2E-942E-835A2B571347}">
      <dgm:prSet/>
      <dgm:spPr/>
      <dgm:t>
        <a:bodyPr/>
        <a:lstStyle/>
        <a:p>
          <a:endParaRPr lang="sk-SK"/>
        </a:p>
      </dgm:t>
    </dgm:pt>
    <dgm:pt modelId="{00E90828-1CED-46CF-9A21-395A435CB302}" type="sibTrans" cxnId="{F04BE7F4-8089-4E2E-942E-835A2B571347}">
      <dgm:prSet/>
      <dgm:spPr/>
      <dgm:t>
        <a:bodyPr/>
        <a:lstStyle/>
        <a:p>
          <a:endParaRPr lang="sk-SK"/>
        </a:p>
      </dgm:t>
    </dgm:pt>
    <dgm:pt modelId="{E548B59E-5818-4514-B7B6-4BE3F2766652}">
      <dgm:prSet phldrT="[Text]">
        <dgm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dgm:style>
      </dgm:prSet>
      <dgm:spPr>
        <a:solidFill>
          <a:schemeClr val="tx1"/>
        </a:solidFill>
      </dgm:spPr>
      <dgm:t>
        <a:bodyPr/>
        <a:lstStyle/>
        <a:p>
          <a:r>
            <a:rPr lang="sk-SK" b="1" dirty="0"/>
            <a:t>Lidl </a:t>
          </a:r>
          <a:r>
            <a:rPr lang="sk-SK" b="1" dirty="0" err="1"/>
            <a:t>Insiders</a:t>
          </a:r>
          <a:r>
            <a:rPr lang="sk-SK" b="1" dirty="0"/>
            <a:t> - stážisti</a:t>
          </a:r>
        </a:p>
      </dgm:t>
    </dgm:pt>
    <dgm:pt modelId="{5728454C-39DC-4EC3-890E-821C9C937093}" type="sibTrans" cxnId="{2E713B32-19D9-48F7-8157-1BCA4CF77F1F}">
      <dgm:prSet/>
      <dgm:spPr/>
      <dgm:t>
        <a:bodyPr/>
        <a:lstStyle/>
        <a:p>
          <a:endParaRPr lang="sk-SK"/>
        </a:p>
      </dgm:t>
    </dgm:pt>
    <dgm:pt modelId="{09F5B3A2-4525-4965-A2D2-D65358D6BC83}" type="parTrans" cxnId="{2E713B32-19D9-48F7-8157-1BCA4CF77F1F}">
      <dgm:prSet/>
      <dgm:spPr/>
      <dgm:t>
        <a:bodyPr/>
        <a:lstStyle/>
        <a:p>
          <a:endParaRPr lang="sk-SK"/>
        </a:p>
      </dgm:t>
    </dgm:pt>
    <dgm:pt modelId="{ABF78B6C-C218-4543-B5D3-AA74EEBB8B49}">
      <dgm:prSet phldrT="[Text]">
        <dgm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dgm:style>
      </dgm:prSet>
      <dgm:spPr>
        <a:solidFill>
          <a:schemeClr val="tx1"/>
        </a:solidFill>
      </dgm:spPr>
      <dgm:t>
        <a:bodyPr/>
        <a:lstStyle/>
        <a:p>
          <a:r>
            <a:rPr lang="sk-SK" b="1" dirty="0"/>
            <a:t>Štúdium na VŠ</a:t>
          </a:r>
        </a:p>
      </dgm:t>
    </dgm:pt>
    <dgm:pt modelId="{EE1FED51-AE9A-4BE8-9657-3D7A1D30C703}" type="sibTrans" cxnId="{B169B14B-DE44-4EE6-9DEB-0C065367D0B6}">
      <dgm:prSet/>
      <dgm:spPr/>
      <dgm:t>
        <a:bodyPr/>
        <a:lstStyle/>
        <a:p>
          <a:endParaRPr lang="sk-SK"/>
        </a:p>
      </dgm:t>
    </dgm:pt>
    <dgm:pt modelId="{E8E3866A-761B-47F2-879B-3C543CD72FDF}" type="parTrans" cxnId="{B169B14B-DE44-4EE6-9DEB-0C065367D0B6}">
      <dgm:prSet/>
      <dgm:spPr/>
      <dgm:t>
        <a:bodyPr/>
        <a:lstStyle/>
        <a:p>
          <a:endParaRPr lang="sk-SK"/>
        </a:p>
      </dgm:t>
    </dgm:pt>
    <dgm:pt modelId="{35292BA7-BC92-473A-A8D2-F6A82B49E8F7}">
      <dgm:prSet phldrT="[Text]"/>
      <dgm:spPr>
        <a:solidFill>
          <a:schemeClr val="tx1"/>
        </a:solidFill>
      </dgm:spPr>
      <dgm:t>
        <a:bodyPr/>
        <a:lstStyle/>
        <a:p>
          <a:r>
            <a:rPr lang="sk-SK" b="1" dirty="0" err="1"/>
            <a:t>Trainee</a:t>
          </a:r>
          <a:r>
            <a:rPr lang="sk-SK" b="1" dirty="0"/>
            <a:t> MP</a:t>
          </a:r>
        </a:p>
      </dgm:t>
    </dgm:pt>
    <dgm:pt modelId="{4102268B-F217-44A9-AE92-0FA775001315}" type="parTrans" cxnId="{B30BD110-D5E2-4C3D-A107-0079AB551FBC}">
      <dgm:prSet/>
      <dgm:spPr/>
      <dgm:t>
        <a:bodyPr/>
        <a:lstStyle/>
        <a:p>
          <a:endParaRPr lang="sk-SK"/>
        </a:p>
      </dgm:t>
    </dgm:pt>
    <dgm:pt modelId="{09509567-404C-4BB6-A9C9-BAFCA797088C}" type="sibTrans" cxnId="{B30BD110-D5E2-4C3D-A107-0079AB551FBC}">
      <dgm:prSet/>
      <dgm:spPr/>
      <dgm:t>
        <a:bodyPr/>
        <a:lstStyle/>
        <a:p>
          <a:endParaRPr lang="sk-SK"/>
        </a:p>
      </dgm:t>
    </dgm:pt>
    <dgm:pt modelId="{C2BC6C7B-0049-4E3D-92A9-947BBA6FD41E}">
      <dgm:prSet/>
      <dgm:spPr>
        <a:solidFill>
          <a:schemeClr val="bg1">
            <a:lumMod val="95000"/>
          </a:schemeClr>
        </a:solidFill>
        <a:ln>
          <a:solidFill>
            <a:schemeClr val="tx1"/>
          </a:solidFill>
        </a:ln>
      </dgm:spPr>
      <dgm:t>
        <a:bodyPr/>
        <a:lstStyle/>
        <a:p>
          <a:r>
            <a:rPr lang="sk-SK" b="1" dirty="0">
              <a:solidFill>
                <a:schemeClr val="tx1"/>
              </a:solidFill>
            </a:rPr>
            <a:t>Iná spoločnosť</a:t>
          </a:r>
        </a:p>
      </dgm:t>
    </dgm:pt>
    <dgm:pt modelId="{0FC4BF74-9ACE-4F81-B3D5-7D08FA46E7DE}" type="sibTrans" cxnId="{98F336FC-02A2-4C5E-973C-F42B5FFEEA4B}">
      <dgm:prSet/>
      <dgm:spPr/>
      <dgm:t>
        <a:bodyPr/>
        <a:lstStyle/>
        <a:p>
          <a:endParaRPr lang="sk-SK"/>
        </a:p>
      </dgm:t>
    </dgm:pt>
    <dgm:pt modelId="{B238DD34-1741-4183-BFCC-B20F2E374044}" type="parTrans" cxnId="{98F336FC-02A2-4C5E-973C-F42B5FFEEA4B}">
      <dgm:prSet/>
      <dgm:spPr/>
      <dgm:t>
        <a:bodyPr/>
        <a:lstStyle/>
        <a:p>
          <a:endParaRPr lang="sk-SK"/>
        </a:p>
      </dgm:t>
    </dgm:pt>
    <dgm:pt modelId="{BCEA5B05-3B4D-40B4-AA3D-67B7C2BBA33C}">
      <dgm:prSet phldrT="[Text]" custT="1">
        <dgm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dgm:style>
      </dgm:prSet>
      <dgm:spPr>
        <a:solidFill>
          <a:prstClr val="white">
            <a:lumMod val="95000"/>
          </a:prstClr>
        </a:solidFill>
        <a:ln w="12700" cap="flat" cmpd="sng" algn="ctr">
          <a:solidFill>
            <a:srgbClr val="0050AA"/>
          </a:solidFill>
          <a:prstDash val="solid"/>
          <a:miter lim="800000"/>
        </a:ln>
        <a:effectLst/>
      </dgm:spPr>
      <dgm:t>
        <a:bodyPr spcFirstLastPara="0" vert="horz" wrap="square" lIns="10160" tIns="10160" rIns="10160" bIns="10160" numCol="1" spcCol="1270" anchor="ctr" anchorCtr="0"/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600" b="1" kern="1200" dirty="0">
              <a:solidFill>
                <a:srgbClr val="0050AA"/>
              </a:solidFill>
              <a:latin typeface="Lidl Font Pro"/>
              <a:ea typeface="+mn-ea"/>
              <a:cs typeface="+mn-cs"/>
            </a:rPr>
            <a:t>(Predčasné) ukončenie spolupráce</a:t>
          </a:r>
        </a:p>
      </dgm:t>
    </dgm:pt>
    <dgm:pt modelId="{2CC123E3-A59C-4006-962E-1CD1DB26BD02}" type="parTrans" cxnId="{AADFBC93-93D9-425C-8224-4A13C88B2D30}">
      <dgm:prSet/>
      <dgm:spPr/>
      <dgm:t>
        <a:bodyPr/>
        <a:lstStyle/>
        <a:p>
          <a:endParaRPr lang="sk-SK"/>
        </a:p>
      </dgm:t>
    </dgm:pt>
    <dgm:pt modelId="{54F0DCB8-6DE3-4D07-A3D3-96495E77E2D1}" type="sibTrans" cxnId="{AADFBC93-93D9-425C-8224-4A13C88B2D30}">
      <dgm:prSet/>
      <dgm:spPr/>
      <dgm:t>
        <a:bodyPr/>
        <a:lstStyle/>
        <a:p>
          <a:endParaRPr lang="sk-SK"/>
        </a:p>
      </dgm:t>
    </dgm:pt>
    <dgm:pt modelId="{0F55FE9B-A7FE-443D-92EE-3D3EBA878E0F}" type="pres">
      <dgm:prSet presAssocID="{BC2C9E7F-E61E-471A-86CB-168D6746FA95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0E4776F3-DC07-4E13-8A3D-2FC9BA2F7FFF}" type="pres">
      <dgm:prSet presAssocID="{E1F3C8A1-1921-4AF2-BF45-95B925736CDA}" presName="root1" presStyleCnt="0"/>
      <dgm:spPr/>
    </dgm:pt>
    <dgm:pt modelId="{4CCEE9FA-5607-4779-AD9E-44CA93C32388}" type="pres">
      <dgm:prSet presAssocID="{E1F3C8A1-1921-4AF2-BF45-95B925736CDA}" presName="LevelOneTextNode" presStyleLbl="node0" presStyleIdx="0" presStyleCnt="1">
        <dgm:presLayoutVars>
          <dgm:chPref val="3"/>
        </dgm:presLayoutVars>
      </dgm:prSet>
      <dgm:spPr/>
    </dgm:pt>
    <dgm:pt modelId="{04953856-B1D4-4A8A-8136-89E4BD1A00B7}" type="pres">
      <dgm:prSet presAssocID="{E1F3C8A1-1921-4AF2-BF45-95B925736CDA}" presName="level2hierChild" presStyleCnt="0"/>
      <dgm:spPr/>
    </dgm:pt>
    <dgm:pt modelId="{26B096CE-DFA3-429E-B9E7-98CA372D1587}" type="pres">
      <dgm:prSet presAssocID="{BA660B37-0F22-4B0A-844E-38C4E04457EE}" presName="conn2-1" presStyleLbl="parChTrans1D2" presStyleIdx="0" presStyleCnt="3"/>
      <dgm:spPr/>
    </dgm:pt>
    <dgm:pt modelId="{4E2CF727-0E78-42A1-B376-A020C8B716E4}" type="pres">
      <dgm:prSet presAssocID="{BA660B37-0F22-4B0A-844E-38C4E04457EE}" presName="connTx" presStyleLbl="parChTrans1D2" presStyleIdx="0" presStyleCnt="3"/>
      <dgm:spPr/>
    </dgm:pt>
    <dgm:pt modelId="{3879CF0F-F67B-408E-8E7E-3097C3EF139E}" type="pres">
      <dgm:prSet presAssocID="{815294CB-3C67-4108-8D2B-67642FEB78AD}" presName="root2" presStyleCnt="0"/>
      <dgm:spPr/>
    </dgm:pt>
    <dgm:pt modelId="{7453036E-E3F1-490C-826D-6B058671232A}" type="pres">
      <dgm:prSet presAssocID="{815294CB-3C67-4108-8D2B-67642FEB78AD}" presName="LevelTwoTextNode" presStyleLbl="node2" presStyleIdx="0" presStyleCnt="3">
        <dgm:presLayoutVars>
          <dgm:chPref val="3"/>
        </dgm:presLayoutVars>
      </dgm:prSet>
      <dgm:spPr/>
    </dgm:pt>
    <dgm:pt modelId="{CDF07E10-BD4B-4245-B2B4-AA3C8782E9A3}" type="pres">
      <dgm:prSet presAssocID="{815294CB-3C67-4108-8D2B-67642FEB78AD}" presName="level3hierChild" presStyleCnt="0"/>
      <dgm:spPr/>
    </dgm:pt>
    <dgm:pt modelId="{1564C958-3150-4416-94A6-1C995D65A6B4}" type="pres">
      <dgm:prSet presAssocID="{16CE650E-FA4B-4B9B-A044-4748184DF952}" presName="conn2-1" presStyleLbl="parChTrans1D3" presStyleIdx="0" presStyleCnt="5"/>
      <dgm:spPr/>
    </dgm:pt>
    <dgm:pt modelId="{93FB5DD6-FEFB-45C9-A821-C5878D4F3AAF}" type="pres">
      <dgm:prSet presAssocID="{16CE650E-FA4B-4B9B-A044-4748184DF952}" presName="connTx" presStyleLbl="parChTrans1D3" presStyleIdx="0" presStyleCnt="5"/>
      <dgm:spPr/>
    </dgm:pt>
    <dgm:pt modelId="{B4861ABB-0FFE-4C2B-970F-45B9EF7D46E0}" type="pres">
      <dgm:prSet presAssocID="{F4032F81-8333-4D89-965E-55898ECAE4F6}" presName="root2" presStyleCnt="0"/>
      <dgm:spPr/>
    </dgm:pt>
    <dgm:pt modelId="{E4DE7F5F-B7F4-4A72-B3CB-713552BA4283}" type="pres">
      <dgm:prSet presAssocID="{F4032F81-8333-4D89-965E-55898ECAE4F6}" presName="LevelTwoTextNode" presStyleLbl="node3" presStyleIdx="0" presStyleCnt="5">
        <dgm:presLayoutVars>
          <dgm:chPref val="3"/>
        </dgm:presLayoutVars>
      </dgm:prSet>
      <dgm:spPr/>
    </dgm:pt>
    <dgm:pt modelId="{A14F41EA-2808-47D2-814A-7FAF35FF5BA4}" type="pres">
      <dgm:prSet presAssocID="{F4032F81-8333-4D89-965E-55898ECAE4F6}" presName="level3hierChild" presStyleCnt="0"/>
      <dgm:spPr/>
    </dgm:pt>
    <dgm:pt modelId="{AB8E288B-A608-48B8-9918-CFD93FB88C03}" type="pres">
      <dgm:prSet presAssocID="{FB08F654-EFF9-444C-868B-DBC8751BCC0C}" presName="conn2-1" presStyleLbl="parChTrans1D3" presStyleIdx="1" presStyleCnt="5"/>
      <dgm:spPr/>
    </dgm:pt>
    <dgm:pt modelId="{E451EA4C-0A26-4D34-9024-17A698E4351A}" type="pres">
      <dgm:prSet presAssocID="{FB08F654-EFF9-444C-868B-DBC8751BCC0C}" presName="connTx" presStyleLbl="parChTrans1D3" presStyleIdx="1" presStyleCnt="5"/>
      <dgm:spPr/>
    </dgm:pt>
    <dgm:pt modelId="{719FF473-B852-446C-97E7-A45F8756CE6A}" type="pres">
      <dgm:prSet presAssocID="{7AB9E9E2-2633-483D-9AEA-CF0E1C67E2A6}" presName="root2" presStyleCnt="0"/>
      <dgm:spPr/>
    </dgm:pt>
    <dgm:pt modelId="{9CCA9061-8012-429B-95C7-4BDCB7EDD49F}" type="pres">
      <dgm:prSet presAssocID="{7AB9E9E2-2633-483D-9AEA-CF0E1C67E2A6}" presName="LevelTwoTextNode" presStyleLbl="node3" presStyleIdx="1" presStyleCnt="5">
        <dgm:presLayoutVars>
          <dgm:chPref val="3"/>
        </dgm:presLayoutVars>
      </dgm:prSet>
      <dgm:spPr/>
    </dgm:pt>
    <dgm:pt modelId="{E89DD047-B966-4006-AD78-18820EDF99BC}" type="pres">
      <dgm:prSet presAssocID="{7AB9E9E2-2633-483D-9AEA-CF0E1C67E2A6}" presName="level3hierChild" presStyleCnt="0"/>
      <dgm:spPr/>
    </dgm:pt>
    <dgm:pt modelId="{2225C66A-8AF5-4520-8726-1C687A6DBC19}" type="pres">
      <dgm:prSet presAssocID="{4102268B-F217-44A9-AE92-0FA775001315}" presName="conn2-1" presStyleLbl="parChTrans1D3" presStyleIdx="2" presStyleCnt="5"/>
      <dgm:spPr/>
    </dgm:pt>
    <dgm:pt modelId="{165728D2-C0D6-4969-BFC6-CD9CC0459294}" type="pres">
      <dgm:prSet presAssocID="{4102268B-F217-44A9-AE92-0FA775001315}" presName="connTx" presStyleLbl="parChTrans1D3" presStyleIdx="2" presStyleCnt="5"/>
      <dgm:spPr/>
    </dgm:pt>
    <dgm:pt modelId="{A764E955-23C8-4118-8D15-7D89FA920B4D}" type="pres">
      <dgm:prSet presAssocID="{35292BA7-BC92-473A-A8D2-F6A82B49E8F7}" presName="root2" presStyleCnt="0"/>
      <dgm:spPr/>
    </dgm:pt>
    <dgm:pt modelId="{6A952100-47C5-4A26-B98C-B7EC99722227}" type="pres">
      <dgm:prSet presAssocID="{35292BA7-BC92-473A-A8D2-F6A82B49E8F7}" presName="LevelTwoTextNode" presStyleLbl="node3" presStyleIdx="2" presStyleCnt="5">
        <dgm:presLayoutVars>
          <dgm:chPref val="3"/>
        </dgm:presLayoutVars>
      </dgm:prSet>
      <dgm:spPr/>
    </dgm:pt>
    <dgm:pt modelId="{B4AD7671-D54A-43D4-8515-3AF64987DDAA}" type="pres">
      <dgm:prSet presAssocID="{35292BA7-BC92-473A-A8D2-F6A82B49E8F7}" presName="level3hierChild" presStyleCnt="0"/>
      <dgm:spPr/>
    </dgm:pt>
    <dgm:pt modelId="{86FF45C2-7D30-48F9-97B6-0B543D71E133}" type="pres">
      <dgm:prSet presAssocID="{E8E3866A-761B-47F2-879B-3C543CD72FDF}" presName="conn2-1" presStyleLbl="parChTrans1D2" presStyleIdx="1" presStyleCnt="3"/>
      <dgm:spPr/>
    </dgm:pt>
    <dgm:pt modelId="{98820205-477D-45DB-B64B-AF7F81A1AADE}" type="pres">
      <dgm:prSet presAssocID="{E8E3866A-761B-47F2-879B-3C543CD72FDF}" presName="connTx" presStyleLbl="parChTrans1D2" presStyleIdx="1" presStyleCnt="3"/>
      <dgm:spPr/>
    </dgm:pt>
    <dgm:pt modelId="{8C601F46-771E-4046-BC06-26B95967EA82}" type="pres">
      <dgm:prSet presAssocID="{ABF78B6C-C218-4543-B5D3-AA74EEBB8B49}" presName="root2" presStyleCnt="0"/>
      <dgm:spPr/>
    </dgm:pt>
    <dgm:pt modelId="{79D1025C-427F-44BE-A610-398E01F2893E}" type="pres">
      <dgm:prSet presAssocID="{ABF78B6C-C218-4543-B5D3-AA74EEBB8B49}" presName="LevelTwoTextNode" presStyleLbl="node2" presStyleIdx="1" presStyleCnt="3">
        <dgm:presLayoutVars>
          <dgm:chPref val="3"/>
        </dgm:presLayoutVars>
      </dgm:prSet>
      <dgm:spPr/>
    </dgm:pt>
    <dgm:pt modelId="{662F82E8-CBF8-40A0-90FB-7534A4A63761}" type="pres">
      <dgm:prSet presAssocID="{ABF78B6C-C218-4543-B5D3-AA74EEBB8B49}" presName="level3hierChild" presStyleCnt="0"/>
      <dgm:spPr/>
    </dgm:pt>
    <dgm:pt modelId="{A025D260-B212-4BA3-9CFB-218412D16966}" type="pres">
      <dgm:prSet presAssocID="{09F5B3A2-4525-4965-A2D2-D65358D6BC83}" presName="conn2-1" presStyleLbl="parChTrans1D3" presStyleIdx="3" presStyleCnt="5"/>
      <dgm:spPr/>
    </dgm:pt>
    <dgm:pt modelId="{ED274DA6-6BAA-4136-BD51-66DD8DC356ED}" type="pres">
      <dgm:prSet presAssocID="{09F5B3A2-4525-4965-A2D2-D65358D6BC83}" presName="connTx" presStyleLbl="parChTrans1D3" presStyleIdx="3" presStyleCnt="5"/>
      <dgm:spPr/>
    </dgm:pt>
    <dgm:pt modelId="{79853B92-978D-463C-BC0A-449826D23F9E}" type="pres">
      <dgm:prSet presAssocID="{E548B59E-5818-4514-B7B6-4BE3F2766652}" presName="root2" presStyleCnt="0"/>
      <dgm:spPr/>
    </dgm:pt>
    <dgm:pt modelId="{E598096E-A5D1-4E25-BA13-2A4479411583}" type="pres">
      <dgm:prSet presAssocID="{E548B59E-5818-4514-B7B6-4BE3F2766652}" presName="LevelTwoTextNode" presStyleLbl="node3" presStyleIdx="3" presStyleCnt="5" custScaleX="99700" custScaleY="64075">
        <dgm:presLayoutVars>
          <dgm:chPref val="3"/>
        </dgm:presLayoutVars>
      </dgm:prSet>
      <dgm:spPr/>
    </dgm:pt>
    <dgm:pt modelId="{50EE43A8-9BAA-49B8-9CB3-D3A5DFB7684E}" type="pres">
      <dgm:prSet presAssocID="{E548B59E-5818-4514-B7B6-4BE3F2766652}" presName="level3hierChild" presStyleCnt="0"/>
      <dgm:spPr/>
    </dgm:pt>
    <dgm:pt modelId="{08CEAAB7-A6F3-4228-9B8B-2EEE62E7F68A}" type="pres">
      <dgm:prSet presAssocID="{B238DD34-1741-4183-BFCC-B20F2E374044}" presName="conn2-1" presStyleLbl="parChTrans1D3" presStyleIdx="4" presStyleCnt="5"/>
      <dgm:spPr/>
    </dgm:pt>
    <dgm:pt modelId="{B16A3965-D924-484A-9BB0-B606B0D8DD67}" type="pres">
      <dgm:prSet presAssocID="{B238DD34-1741-4183-BFCC-B20F2E374044}" presName="connTx" presStyleLbl="parChTrans1D3" presStyleIdx="4" presStyleCnt="5"/>
      <dgm:spPr/>
    </dgm:pt>
    <dgm:pt modelId="{4EE7D950-55E5-4540-A94E-C5CE86F4B1EE}" type="pres">
      <dgm:prSet presAssocID="{C2BC6C7B-0049-4E3D-92A9-947BBA6FD41E}" presName="root2" presStyleCnt="0"/>
      <dgm:spPr/>
    </dgm:pt>
    <dgm:pt modelId="{3264A325-BABE-4AF5-B0E3-5CFE2B14F8A6}" type="pres">
      <dgm:prSet presAssocID="{C2BC6C7B-0049-4E3D-92A9-947BBA6FD41E}" presName="LevelTwoTextNode" presStyleLbl="node3" presStyleIdx="4" presStyleCnt="5" custScaleX="99700" custScaleY="64075">
        <dgm:presLayoutVars>
          <dgm:chPref val="3"/>
        </dgm:presLayoutVars>
      </dgm:prSet>
      <dgm:spPr/>
    </dgm:pt>
    <dgm:pt modelId="{A75A9AC9-5E1B-4B92-9100-C98B4C94FF12}" type="pres">
      <dgm:prSet presAssocID="{C2BC6C7B-0049-4E3D-92A9-947BBA6FD41E}" presName="level3hierChild" presStyleCnt="0"/>
      <dgm:spPr/>
    </dgm:pt>
    <dgm:pt modelId="{36A5E6A1-2CE3-45E6-B2D7-D4D67592CE51}" type="pres">
      <dgm:prSet presAssocID="{2CC123E3-A59C-4006-962E-1CD1DB26BD02}" presName="conn2-1" presStyleLbl="parChTrans1D2" presStyleIdx="2" presStyleCnt="3"/>
      <dgm:spPr/>
    </dgm:pt>
    <dgm:pt modelId="{60A7D507-0D10-4FE2-81CE-03E40C0DC59B}" type="pres">
      <dgm:prSet presAssocID="{2CC123E3-A59C-4006-962E-1CD1DB26BD02}" presName="connTx" presStyleLbl="parChTrans1D2" presStyleIdx="2" presStyleCnt="3"/>
      <dgm:spPr/>
    </dgm:pt>
    <dgm:pt modelId="{718213CD-0F32-47DC-99AE-8512F818869E}" type="pres">
      <dgm:prSet presAssocID="{BCEA5B05-3B4D-40B4-AA3D-67B7C2BBA33C}" presName="root2" presStyleCnt="0"/>
      <dgm:spPr/>
    </dgm:pt>
    <dgm:pt modelId="{50ECB58A-FA48-48A4-A6A8-54C63F9C8B02}" type="pres">
      <dgm:prSet presAssocID="{BCEA5B05-3B4D-40B4-AA3D-67B7C2BBA33C}" presName="LevelTwoTextNode" presStyleLbl="node2" presStyleIdx="2" presStyleCnt="3">
        <dgm:presLayoutVars>
          <dgm:chPref val="3"/>
        </dgm:presLayoutVars>
      </dgm:prSet>
      <dgm:spPr>
        <a:xfrm>
          <a:off x="2337672" y="3781919"/>
          <a:ext cx="1570249" cy="785124"/>
        </a:xfrm>
        <a:prstGeom prst="roundRect">
          <a:avLst>
            <a:gd name="adj" fmla="val 10000"/>
          </a:avLst>
        </a:prstGeom>
      </dgm:spPr>
    </dgm:pt>
    <dgm:pt modelId="{7F451EF8-4969-463D-8EB2-B43FC7960AE1}" type="pres">
      <dgm:prSet presAssocID="{BCEA5B05-3B4D-40B4-AA3D-67B7C2BBA33C}" presName="level3hierChild" presStyleCnt="0"/>
      <dgm:spPr/>
    </dgm:pt>
  </dgm:ptLst>
  <dgm:cxnLst>
    <dgm:cxn modelId="{2B1D4801-5DF6-45F2-B924-2BAFD4B5C6E0}" type="presOf" srcId="{815294CB-3C67-4108-8D2B-67642FEB78AD}" destId="{7453036E-E3F1-490C-826D-6B058671232A}" srcOrd="0" destOrd="0" presId="urn:microsoft.com/office/officeart/2005/8/layout/hierarchy2"/>
    <dgm:cxn modelId="{A59A4004-7503-446B-85EB-C1A030BC9AF8}" type="presOf" srcId="{09F5B3A2-4525-4965-A2D2-D65358D6BC83}" destId="{ED274DA6-6BAA-4136-BD51-66DD8DC356ED}" srcOrd="1" destOrd="0" presId="urn:microsoft.com/office/officeart/2005/8/layout/hierarchy2"/>
    <dgm:cxn modelId="{60ED9105-7A95-4BC8-9C33-EE898E0741BC}" type="presOf" srcId="{C2BC6C7B-0049-4E3D-92A9-947BBA6FD41E}" destId="{3264A325-BABE-4AF5-B0E3-5CFE2B14F8A6}" srcOrd="0" destOrd="0" presId="urn:microsoft.com/office/officeart/2005/8/layout/hierarchy2"/>
    <dgm:cxn modelId="{9D6FFB08-5D26-4BDD-B95B-0F8BE7154F1E}" type="presOf" srcId="{BCEA5B05-3B4D-40B4-AA3D-67B7C2BBA33C}" destId="{50ECB58A-FA48-48A4-A6A8-54C63F9C8B02}" srcOrd="0" destOrd="0" presId="urn:microsoft.com/office/officeart/2005/8/layout/hierarchy2"/>
    <dgm:cxn modelId="{B30BD110-D5E2-4C3D-A107-0079AB551FBC}" srcId="{815294CB-3C67-4108-8D2B-67642FEB78AD}" destId="{35292BA7-BC92-473A-A8D2-F6A82B49E8F7}" srcOrd="2" destOrd="0" parTransId="{4102268B-F217-44A9-AE92-0FA775001315}" sibTransId="{09509567-404C-4BB6-A9C9-BAFCA797088C}"/>
    <dgm:cxn modelId="{258D4816-320A-42AD-BB79-867F41224A70}" type="presOf" srcId="{E548B59E-5818-4514-B7B6-4BE3F2766652}" destId="{E598096E-A5D1-4E25-BA13-2A4479411583}" srcOrd="0" destOrd="0" presId="urn:microsoft.com/office/officeart/2005/8/layout/hierarchy2"/>
    <dgm:cxn modelId="{651EE01B-9DD2-4DE4-A09D-FB31ECEF46A6}" type="presOf" srcId="{E1F3C8A1-1921-4AF2-BF45-95B925736CDA}" destId="{4CCEE9FA-5607-4779-AD9E-44CA93C32388}" srcOrd="0" destOrd="0" presId="urn:microsoft.com/office/officeart/2005/8/layout/hierarchy2"/>
    <dgm:cxn modelId="{510CC828-77FF-4D80-915B-85996BCEBBC8}" type="presOf" srcId="{2CC123E3-A59C-4006-962E-1CD1DB26BD02}" destId="{36A5E6A1-2CE3-45E6-B2D7-D4D67592CE51}" srcOrd="0" destOrd="0" presId="urn:microsoft.com/office/officeart/2005/8/layout/hierarchy2"/>
    <dgm:cxn modelId="{2FBB202D-7A35-46BB-8578-36EC91E61F05}" type="presOf" srcId="{ABF78B6C-C218-4543-B5D3-AA74EEBB8B49}" destId="{79D1025C-427F-44BE-A610-398E01F2893E}" srcOrd="0" destOrd="0" presId="urn:microsoft.com/office/officeart/2005/8/layout/hierarchy2"/>
    <dgm:cxn modelId="{2E713B32-19D9-48F7-8157-1BCA4CF77F1F}" srcId="{ABF78B6C-C218-4543-B5D3-AA74EEBB8B49}" destId="{E548B59E-5818-4514-B7B6-4BE3F2766652}" srcOrd="0" destOrd="0" parTransId="{09F5B3A2-4525-4965-A2D2-D65358D6BC83}" sibTransId="{5728454C-39DC-4EC3-890E-821C9C937093}"/>
    <dgm:cxn modelId="{66238844-1DFB-4D73-9CF0-2BDB98E4C7B3}" type="presOf" srcId="{7AB9E9E2-2633-483D-9AEA-CF0E1C67E2A6}" destId="{9CCA9061-8012-429B-95C7-4BDCB7EDD49F}" srcOrd="0" destOrd="0" presId="urn:microsoft.com/office/officeart/2005/8/layout/hierarchy2"/>
    <dgm:cxn modelId="{E539D946-03E8-437B-8289-01FD6305552A}" srcId="{E1F3C8A1-1921-4AF2-BF45-95B925736CDA}" destId="{815294CB-3C67-4108-8D2B-67642FEB78AD}" srcOrd="0" destOrd="0" parTransId="{BA660B37-0F22-4B0A-844E-38C4E04457EE}" sibTransId="{317E4736-79A7-4716-91BD-B0017C5D1BC4}"/>
    <dgm:cxn modelId="{21A3D347-1FA5-4E7E-8BAB-52D7FF09FDD8}" type="presOf" srcId="{16CE650E-FA4B-4B9B-A044-4748184DF952}" destId="{93FB5DD6-FEFB-45C9-A821-C5878D4F3AAF}" srcOrd="1" destOrd="0" presId="urn:microsoft.com/office/officeart/2005/8/layout/hierarchy2"/>
    <dgm:cxn modelId="{F8228F49-D8AF-4275-82CB-E92F4EBBEF2D}" srcId="{815294CB-3C67-4108-8D2B-67642FEB78AD}" destId="{F4032F81-8333-4D89-965E-55898ECAE4F6}" srcOrd="0" destOrd="0" parTransId="{16CE650E-FA4B-4B9B-A044-4748184DF952}" sibTransId="{CC4A3AD7-265C-4404-B287-306BC2449535}"/>
    <dgm:cxn modelId="{B169B14B-DE44-4EE6-9DEB-0C065367D0B6}" srcId="{E1F3C8A1-1921-4AF2-BF45-95B925736CDA}" destId="{ABF78B6C-C218-4543-B5D3-AA74EEBB8B49}" srcOrd="1" destOrd="0" parTransId="{E8E3866A-761B-47F2-879B-3C543CD72FDF}" sibTransId="{EE1FED51-AE9A-4BE8-9657-3D7A1D30C703}"/>
    <dgm:cxn modelId="{64B6BE54-3DCA-4731-ADAD-F0F90FC81EA3}" type="presOf" srcId="{BC2C9E7F-E61E-471A-86CB-168D6746FA95}" destId="{0F55FE9B-A7FE-443D-92EE-3D3EBA878E0F}" srcOrd="0" destOrd="0" presId="urn:microsoft.com/office/officeart/2005/8/layout/hierarchy2"/>
    <dgm:cxn modelId="{94E73956-DDE7-41E6-9B0D-27045CAF5537}" type="presOf" srcId="{FB08F654-EFF9-444C-868B-DBC8751BCC0C}" destId="{AB8E288B-A608-48B8-9918-CFD93FB88C03}" srcOrd="0" destOrd="0" presId="urn:microsoft.com/office/officeart/2005/8/layout/hierarchy2"/>
    <dgm:cxn modelId="{C341BA56-2DF1-4873-B1C0-E19CCB94A630}" type="presOf" srcId="{4102268B-F217-44A9-AE92-0FA775001315}" destId="{165728D2-C0D6-4969-BFC6-CD9CC0459294}" srcOrd="1" destOrd="0" presId="urn:microsoft.com/office/officeart/2005/8/layout/hierarchy2"/>
    <dgm:cxn modelId="{E73BCA77-D1B2-4782-B429-279230A3239E}" type="presOf" srcId="{FB08F654-EFF9-444C-868B-DBC8751BCC0C}" destId="{E451EA4C-0A26-4D34-9024-17A698E4351A}" srcOrd="1" destOrd="0" presId="urn:microsoft.com/office/officeart/2005/8/layout/hierarchy2"/>
    <dgm:cxn modelId="{0BB2A77E-C35B-49EE-9F2E-B144A3278867}" type="presOf" srcId="{09F5B3A2-4525-4965-A2D2-D65358D6BC83}" destId="{A025D260-B212-4BA3-9CFB-218412D16966}" srcOrd="0" destOrd="0" presId="urn:microsoft.com/office/officeart/2005/8/layout/hierarchy2"/>
    <dgm:cxn modelId="{C7D8BF85-5A60-4FCD-B8C1-4C019014D921}" type="presOf" srcId="{E8E3866A-761B-47F2-879B-3C543CD72FDF}" destId="{86FF45C2-7D30-48F9-97B6-0B543D71E133}" srcOrd="0" destOrd="0" presId="urn:microsoft.com/office/officeart/2005/8/layout/hierarchy2"/>
    <dgm:cxn modelId="{6A9B0F88-156F-4B13-83DD-15759F550A8D}" type="presOf" srcId="{E8E3866A-761B-47F2-879B-3C543CD72FDF}" destId="{98820205-477D-45DB-B64B-AF7F81A1AADE}" srcOrd="1" destOrd="0" presId="urn:microsoft.com/office/officeart/2005/8/layout/hierarchy2"/>
    <dgm:cxn modelId="{AADFBC93-93D9-425C-8224-4A13C88B2D30}" srcId="{E1F3C8A1-1921-4AF2-BF45-95B925736CDA}" destId="{BCEA5B05-3B4D-40B4-AA3D-67B7C2BBA33C}" srcOrd="2" destOrd="0" parTransId="{2CC123E3-A59C-4006-962E-1CD1DB26BD02}" sibTransId="{54F0DCB8-6DE3-4D07-A3D3-96495E77E2D1}"/>
    <dgm:cxn modelId="{A9144EA8-EBF6-4E71-B0AF-1E7F1BEB5A43}" type="presOf" srcId="{F4032F81-8333-4D89-965E-55898ECAE4F6}" destId="{E4DE7F5F-B7F4-4A72-B3CB-713552BA4283}" srcOrd="0" destOrd="0" presId="urn:microsoft.com/office/officeart/2005/8/layout/hierarchy2"/>
    <dgm:cxn modelId="{1CE915B4-742E-46E1-9D50-8B9F0051ABC9}" type="presOf" srcId="{35292BA7-BC92-473A-A8D2-F6A82B49E8F7}" destId="{6A952100-47C5-4A26-B98C-B7EC99722227}" srcOrd="0" destOrd="0" presId="urn:microsoft.com/office/officeart/2005/8/layout/hierarchy2"/>
    <dgm:cxn modelId="{B1644BB9-A5AC-407B-8A31-E6A2C167D07E}" type="presOf" srcId="{B238DD34-1741-4183-BFCC-B20F2E374044}" destId="{B16A3965-D924-484A-9BB0-B606B0D8DD67}" srcOrd="1" destOrd="0" presId="urn:microsoft.com/office/officeart/2005/8/layout/hierarchy2"/>
    <dgm:cxn modelId="{45D5F5BF-D7E9-4D45-B02B-CF1FB074968E}" type="presOf" srcId="{4102268B-F217-44A9-AE92-0FA775001315}" destId="{2225C66A-8AF5-4520-8726-1C687A6DBC19}" srcOrd="0" destOrd="0" presId="urn:microsoft.com/office/officeart/2005/8/layout/hierarchy2"/>
    <dgm:cxn modelId="{F65EC9D1-9755-4760-BC51-FF50DBD71C0C}" type="presOf" srcId="{2CC123E3-A59C-4006-962E-1CD1DB26BD02}" destId="{60A7D507-0D10-4FE2-81CE-03E40C0DC59B}" srcOrd="1" destOrd="0" presId="urn:microsoft.com/office/officeart/2005/8/layout/hierarchy2"/>
    <dgm:cxn modelId="{B771B8DB-7104-4335-98DF-299164F1B848}" type="presOf" srcId="{16CE650E-FA4B-4B9B-A044-4748184DF952}" destId="{1564C958-3150-4416-94A6-1C995D65A6B4}" srcOrd="0" destOrd="0" presId="urn:microsoft.com/office/officeart/2005/8/layout/hierarchy2"/>
    <dgm:cxn modelId="{2224C9F2-4A95-4203-9AD9-532275A0B18A}" type="presOf" srcId="{B238DD34-1741-4183-BFCC-B20F2E374044}" destId="{08CEAAB7-A6F3-4228-9B8B-2EEE62E7F68A}" srcOrd="0" destOrd="0" presId="urn:microsoft.com/office/officeart/2005/8/layout/hierarchy2"/>
    <dgm:cxn modelId="{8EA63DF3-7577-4635-BBB9-57BFAAF06807}" type="presOf" srcId="{BA660B37-0F22-4B0A-844E-38C4E04457EE}" destId="{4E2CF727-0E78-42A1-B376-A020C8B716E4}" srcOrd="1" destOrd="0" presId="urn:microsoft.com/office/officeart/2005/8/layout/hierarchy2"/>
    <dgm:cxn modelId="{1A0280F4-5787-4FCC-B538-903E230AED55}" srcId="{BC2C9E7F-E61E-471A-86CB-168D6746FA95}" destId="{E1F3C8A1-1921-4AF2-BF45-95B925736CDA}" srcOrd="0" destOrd="0" parTransId="{674A83B6-D55D-4A05-8C41-0D66E7DD88C2}" sibTransId="{DE0B6C14-D3A0-4265-BC53-816A6957DBEA}"/>
    <dgm:cxn modelId="{F04BE7F4-8089-4E2E-942E-835A2B571347}" srcId="{815294CB-3C67-4108-8D2B-67642FEB78AD}" destId="{7AB9E9E2-2633-483D-9AEA-CF0E1C67E2A6}" srcOrd="1" destOrd="0" parTransId="{FB08F654-EFF9-444C-868B-DBC8751BCC0C}" sibTransId="{00E90828-1CED-46CF-9A21-395A435CB302}"/>
    <dgm:cxn modelId="{54A0FAF7-790C-4671-8F77-338E7366FD20}" type="presOf" srcId="{BA660B37-0F22-4B0A-844E-38C4E04457EE}" destId="{26B096CE-DFA3-429E-B9E7-98CA372D1587}" srcOrd="0" destOrd="0" presId="urn:microsoft.com/office/officeart/2005/8/layout/hierarchy2"/>
    <dgm:cxn modelId="{98F336FC-02A2-4C5E-973C-F42B5FFEEA4B}" srcId="{ABF78B6C-C218-4543-B5D3-AA74EEBB8B49}" destId="{C2BC6C7B-0049-4E3D-92A9-947BBA6FD41E}" srcOrd="1" destOrd="0" parTransId="{B238DD34-1741-4183-BFCC-B20F2E374044}" sibTransId="{0FC4BF74-9ACE-4F81-B3D5-7D08FA46E7DE}"/>
    <dgm:cxn modelId="{A2209151-CDA2-4297-BC82-A31A43E79164}" type="presParOf" srcId="{0F55FE9B-A7FE-443D-92EE-3D3EBA878E0F}" destId="{0E4776F3-DC07-4E13-8A3D-2FC9BA2F7FFF}" srcOrd="0" destOrd="0" presId="urn:microsoft.com/office/officeart/2005/8/layout/hierarchy2"/>
    <dgm:cxn modelId="{F1EDAE01-E96B-4BD6-9A95-E472C91A888A}" type="presParOf" srcId="{0E4776F3-DC07-4E13-8A3D-2FC9BA2F7FFF}" destId="{4CCEE9FA-5607-4779-AD9E-44CA93C32388}" srcOrd="0" destOrd="0" presId="urn:microsoft.com/office/officeart/2005/8/layout/hierarchy2"/>
    <dgm:cxn modelId="{AEF8F445-46C3-4495-AD44-6F3BF67A77FC}" type="presParOf" srcId="{0E4776F3-DC07-4E13-8A3D-2FC9BA2F7FFF}" destId="{04953856-B1D4-4A8A-8136-89E4BD1A00B7}" srcOrd="1" destOrd="0" presId="urn:microsoft.com/office/officeart/2005/8/layout/hierarchy2"/>
    <dgm:cxn modelId="{4707327F-8274-4FC3-BCA5-555436C3BF68}" type="presParOf" srcId="{04953856-B1D4-4A8A-8136-89E4BD1A00B7}" destId="{26B096CE-DFA3-429E-B9E7-98CA372D1587}" srcOrd="0" destOrd="0" presId="urn:microsoft.com/office/officeart/2005/8/layout/hierarchy2"/>
    <dgm:cxn modelId="{0DCEF2D5-D498-4C24-8D27-3B9BD275D7F8}" type="presParOf" srcId="{26B096CE-DFA3-429E-B9E7-98CA372D1587}" destId="{4E2CF727-0E78-42A1-B376-A020C8B716E4}" srcOrd="0" destOrd="0" presId="urn:microsoft.com/office/officeart/2005/8/layout/hierarchy2"/>
    <dgm:cxn modelId="{37362733-6A98-4447-B11F-7F599454895F}" type="presParOf" srcId="{04953856-B1D4-4A8A-8136-89E4BD1A00B7}" destId="{3879CF0F-F67B-408E-8E7E-3097C3EF139E}" srcOrd="1" destOrd="0" presId="urn:microsoft.com/office/officeart/2005/8/layout/hierarchy2"/>
    <dgm:cxn modelId="{FBE73BEC-6C1E-47CB-9765-37660FEC49F7}" type="presParOf" srcId="{3879CF0F-F67B-408E-8E7E-3097C3EF139E}" destId="{7453036E-E3F1-490C-826D-6B058671232A}" srcOrd="0" destOrd="0" presId="urn:microsoft.com/office/officeart/2005/8/layout/hierarchy2"/>
    <dgm:cxn modelId="{B8315095-5BAA-48CA-B1C1-4686593FA637}" type="presParOf" srcId="{3879CF0F-F67B-408E-8E7E-3097C3EF139E}" destId="{CDF07E10-BD4B-4245-B2B4-AA3C8782E9A3}" srcOrd="1" destOrd="0" presId="urn:microsoft.com/office/officeart/2005/8/layout/hierarchy2"/>
    <dgm:cxn modelId="{01A4E2A0-F291-448C-B9BE-F6F673F2E64B}" type="presParOf" srcId="{CDF07E10-BD4B-4245-B2B4-AA3C8782E9A3}" destId="{1564C958-3150-4416-94A6-1C995D65A6B4}" srcOrd="0" destOrd="0" presId="urn:microsoft.com/office/officeart/2005/8/layout/hierarchy2"/>
    <dgm:cxn modelId="{B6ACE3E0-FAC3-479C-88D9-B879AB752FB8}" type="presParOf" srcId="{1564C958-3150-4416-94A6-1C995D65A6B4}" destId="{93FB5DD6-FEFB-45C9-A821-C5878D4F3AAF}" srcOrd="0" destOrd="0" presId="urn:microsoft.com/office/officeart/2005/8/layout/hierarchy2"/>
    <dgm:cxn modelId="{C5DB46C9-EA5A-4741-9897-2FD3E46832A3}" type="presParOf" srcId="{CDF07E10-BD4B-4245-B2B4-AA3C8782E9A3}" destId="{B4861ABB-0FFE-4C2B-970F-45B9EF7D46E0}" srcOrd="1" destOrd="0" presId="urn:microsoft.com/office/officeart/2005/8/layout/hierarchy2"/>
    <dgm:cxn modelId="{48BA28AB-E635-4E33-B02F-75FFE332EC4C}" type="presParOf" srcId="{B4861ABB-0FFE-4C2B-970F-45B9EF7D46E0}" destId="{E4DE7F5F-B7F4-4A72-B3CB-713552BA4283}" srcOrd="0" destOrd="0" presId="urn:microsoft.com/office/officeart/2005/8/layout/hierarchy2"/>
    <dgm:cxn modelId="{F81CE77A-AEC3-4862-BE7C-584C17B628B2}" type="presParOf" srcId="{B4861ABB-0FFE-4C2B-970F-45B9EF7D46E0}" destId="{A14F41EA-2808-47D2-814A-7FAF35FF5BA4}" srcOrd="1" destOrd="0" presId="urn:microsoft.com/office/officeart/2005/8/layout/hierarchy2"/>
    <dgm:cxn modelId="{954A447D-9E3F-4CE7-81B9-11EA29755FBA}" type="presParOf" srcId="{CDF07E10-BD4B-4245-B2B4-AA3C8782E9A3}" destId="{AB8E288B-A608-48B8-9918-CFD93FB88C03}" srcOrd="2" destOrd="0" presId="urn:microsoft.com/office/officeart/2005/8/layout/hierarchy2"/>
    <dgm:cxn modelId="{08E8966D-DA7E-4F05-A7A8-AC497286115D}" type="presParOf" srcId="{AB8E288B-A608-48B8-9918-CFD93FB88C03}" destId="{E451EA4C-0A26-4D34-9024-17A698E4351A}" srcOrd="0" destOrd="0" presId="urn:microsoft.com/office/officeart/2005/8/layout/hierarchy2"/>
    <dgm:cxn modelId="{F314BEB9-0578-4060-91D2-321763287D28}" type="presParOf" srcId="{CDF07E10-BD4B-4245-B2B4-AA3C8782E9A3}" destId="{719FF473-B852-446C-97E7-A45F8756CE6A}" srcOrd="3" destOrd="0" presId="urn:microsoft.com/office/officeart/2005/8/layout/hierarchy2"/>
    <dgm:cxn modelId="{B84C9DB6-88A5-44C1-A84F-EE1088625795}" type="presParOf" srcId="{719FF473-B852-446C-97E7-A45F8756CE6A}" destId="{9CCA9061-8012-429B-95C7-4BDCB7EDD49F}" srcOrd="0" destOrd="0" presId="urn:microsoft.com/office/officeart/2005/8/layout/hierarchy2"/>
    <dgm:cxn modelId="{0D506F99-511A-4484-AFD9-048D775BD589}" type="presParOf" srcId="{719FF473-B852-446C-97E7-A45F8756CE6A}" destId="{E89DD047-B966-4006-AD78-18820EDF99BC}" srcOrd="1" destOrd="0" presId="urn:microsoft.com/office/officeart/2005/8/layout/hierarchy2"/>
    <dgm:cxn modelId="{B58E2AD0-C928-4116-B76B-F10A0AB24C73}" type="presParOf" srcId="{CDF07E10-BD4B-4245-B2B4-AA3C8782E9A3}" destId="{2225C66A-8AF5-4520-8726-1C687A6DBC19}" srcOrd="4" destOrd="0" presId="urn:microsoft.com/office/officeart/2005/8/layout/hierarchy2"/>
    <dgm:cxn modelId="{27791305-4E46-4299-9D47-FEC8CEB94F10}" type="presParOf" srcId="{2225C66A-8AF5-4520-8726-1C687A6DBC19}" destId="{165728D2-C0D6-4969-BFC6-CD9CC0459294}" srcOrd="0" destOrd="0" presId="urn:microsoft.com/office/officeart/2005/8/layout/hierarchy2"/>
    <dgm:cxn modelId="{2A4E7D54-DA1C-4C3B-9AF0-DB0F54D507B1}" type="presParOf" srcId="{CDF07E10-BD4B-4245-B2B4-AA3C8782E9A3}" destId="{A764E955-23C8-4118-8D15-7D89FA920B4D}" srcOrd="5" destOrd="0" presId="urn:microsoft.com/office/officeart/2005/8/layout/hierarchy2"/>
    <dgm:cxn modelId="{D6E944C0-7F7C-45C8-8605-D84A37524574}" type="presParOf" srcId="{A764E955-23C8-4118-8D15-7D89FA920B4D}" destId="{6A952100-47C5-4A26-B98C-B7EC99722227}" srcOrd="0" destOrd="0" presId="urn:microsoft.com/office/officeart/2005/8/layout/hierarchy2"/>
    <dgm:cxn modelId="{D365ACFD-BB10-4C89-8602-44DAF1F72181}" type="presParOf" srcId="{A764E955-23C8-4118-8D15-7D89FA920B4D}" destId="{B4AD7671-D54A-43D4-8515-3AF64987DDAA}" srcOrd="1" destOrd="0" presId="urn:microsoft.com/office/officeart/2005/8/layout/hierarchy2"/>
    <dgm:cxn modelId="{0706129F-ADCC-42CB-BA7D-26ABD8A2369F}" type="presParOf" srcId="{04953856-B1D4-4A8A-8136-89E4BD1A00B7}" destId="{86FF45C2-7D30-48F9-97B6-0B543D71E133}" srcOrd="2" destOrd="0" presId="urn:microsoft.com/office/officeart/2005/8/layout/hierarchy2"/>
    <dgm:cxn modelId="{6E497B55-E0D4-4829-8171-EBE544140153}" type="presParOf" srcId="{86FF45C2-7D30-48F9-97B6-0B543D71E133}" destId="{98820205-477D-45DB-B64B-AF7F81A1AADE}" srcOrd="0" destOrd="0" presId="urn:microsoft.com/office/officeart/2005/8/layout/hierarchy2"/>
    <dgm:cxn modelId="{5E77E221-2359-48E4-8BE7-2BB885797896}" type="presParOf" srcId="{04953856-B1D4-4A8A-8136-89E4BD1A00B7}" destId="{8C601F46-771E-4046-BC06-26B95967EA82}" srcOrd="3" destOrd="0" presId="urn:microsoft.com/office/officeart/2005/8/layout/hierarchy2"/>
    <dgm:cxn modelId="{6D10C579-D7B4-418B-81F6-898E8FF668B5}" type="presParOf" srcId="{8C601F46-771E-4046-BC06-26B95967EA82}" destId="{79D1025C-427F-44BE-A610-398E01F2893E}" srcOrd="0" destOrd="0" presId="urn:microsoft.com/office/officeart/2005/8/layout/hierarchy2"/>
    <dgm:cxn modelId="{CBBC3E78-0572-4A5F-A382-7963094E34C0}" type="presParOf" srcId="{8C601F46-771E-4046-BC06-26B95967EA82}" destId="{662F82E8-CBF8-40A0-90FB-7534A4A63761}" srcOrd="1" destOrd="0" presId="urn:microsoft.com/office/officeart/2005/8/layout/hierarchy2"/>
    <dgm:cxn modelId="{53F97EFE-E968-45F6-A737-A57EFC2A83FC}" type="presParOf" srcId="{662F82E8-CBF8-40A0-90FB-7534A4A63761}" destId="{A025D260-B212-4BA3-9CFB-218412D16966}" srcOrd="0" destOrd="0" presId="urn:microsoft.com/office/officeart/2005/8/layout/hierarchy2"/>
    <dgm:cxn modelId="{BDE2676F-7B90-464A-98B9-04F7D7B2AFEF}" type="presParOf" srcId="{A025D260-B212-4BA3-9CFB-218412D16966}" destId="{ED274DA6-6BAA-4136-BD51-66DD8DC356ED}" srcOrd="0" destOrd="0" presId="urn:microsoft.com/office/officeart/2005/8/layout/hierarchy2"/>
    <dgm:cxn modelId="{3BAF8737-3468-4BBF-BEFA-358C4BCD2680}" type="presParOf" srcId="{662F82E8-CBF8-40A0-90FB-7534A4A63761}" destId="{79853B92-978D-463C-BC0A-449826D23F9E}" srcOrd="1" destOrd="0" presId="urn:microsoft.com/office/officeart/2005/8/layout/hierarchy2"/>
    <dgm:cxn modelId="{E0C184DF-7F43-48B5-8C88-95BD33D362EB}" type="presParOf" srcId="{79853B92-978D-463C-BC0A-449826D23F9E}" destId="{E598096E-A5D1-4E25-BA13-2A4479411583}" srcOrd="0" destOrd="0" presId="urn:microsoft.com/office/officeart/2005/8/layout/hierarchy2"/>
    <dgm:cxn modelId="{CDE3021B-78C0-4315-A258-1338703CB32E}" type="presParOf" srcId="{79853B92-978D-463C-BC0A-449826D23F9E}" destId="{50EE43A8-9BAA-49B8-9CB3-D3A5DFB7684E}" srcOrd="1" destOrd="0" presId="urn:microsoft.com/office/officeart/2005/8/layout/hierarchy2"/>
    <dgm:cxn modelId="{9CA31D69-391E-4364-A5D3-E99A0FD1C3E6}" type="presParOf" srcId="{662F82E8-CBF8-40A0-90FB-7534A4A63761}" destId="{08CEAAB7-A6F3-4228-9B8B-2EEE62E7F68A}" srcOrd="2" destOrd="0" presId="urn:microsoft.com/office/officeart/2005/8/layout/hierarchy2"/>
    <dgm:cxn modelId="{369329F1-E19A-4BEE-A474-227179B96104}" type="presParOf" srcId="{08CEAAB7-A6F3-4228-9B8B-2EEE62E7F68A}" destId="{B16A3965-D924-484A-9BB0-B606B0D8DD67}" srcOrd="0" destOrd="0" presId="urn:microsoft.com/office/officeart/2005/8/layout/hierarchy2"/>
    <dgm:cxn modelId="{5ADBFA0E-4C56-42F6-93D1-EBD07B1B0958}" type="presParOf" srcId="{662F82E8-CBF8-40A0-90FB-7534A4A63761}" destId="{4EE7D950-55E5-4540-A94E-C5CE86F4B1EE}" srcOrd="3" destOrd="0" presId="urn:microsoft.com/office/officeart/2005/8/layout/hierarchy2"/>
    <dgm:cxn modelId="{6D01B8AA-C72E-4D14-8000-463A564584B6}" type="presParOf" srcId="{4EE7D950-55E5-4540-A94E-C5CE86F4B1EE}" destId="{3264A325-BABE-4AF5-B0E3-5CFE2B14F8A6}" srcOrd="0" destOrd="0" presId="urn:microsoft.com/office/officeart/2005/8/layout/hierarchy2"/>
    <dgm:cxn modelId="{11A54FF6-E600-42BF-99AB-FE922BDC018C}" type="presParOf" srcId="{4EE7D950-55E5-4540-A94E-C5CE86F4B1EE}" destId="{A75A9AC9-5E1B-4B92-9100-C98B4C94FF12}" srcOrd="1" destOrd="0" presId="urn:microsoft.com/office/officeart/2005/8/layout/hierarchy2"/>
    <dgm:cxn modelId="{8122F2F7-D39E-4A79-A25A-B79FE80B2DF5}" type="presParOf" srcId="{04953856-B1D4-4A8A-8136-89E4BD1A00B7}" destId="{36A5E6A1-2CE3-45E6-B2D7-D4D67592CE51}" srcOrd="4" destOrd="0" presId="urn:microsoft.com/office/officeart/2005/8/layout/hierarchy2"/>
    <dgm:cxn modelId="{6CAB0CA9-4F71-45BF-BD94-5A8E3364E73C}" type="presParOf" srcId="{36A5E6A1-2CE3-45E6-B2D7-D4D67592CE51}" destId="{60A7D507-0D10-4FE2-81CE-03E40C0DC59B}" srcOrd="0" destOrd="0" presId="urn:microsoft.com/office/officeart/2005/8/layout/hierarchy2"/>
    <dgm:cxn modelId="{02CB1D15-E29B-44C9-BF98-A5F57789E7EC}" type="presParOf" srcId="{04953856-B1D4-4A8A-8136-89E4BD1A00B7}" destId="{718213CD-0F32-47DC-99AE-8512F818869E}" srcOrd="5" destOrd="0" presId="urn:microsoft.com/office/officeart/2005/8/layout/hierarchy2"/>
    <dgm:cxn modelId="{BA3E46A9-BB0A-4B58-9758-B3EC1DFFF8B7}" type="presParOf" srcId="{718213CD-0F32-47DC-99AE-8512F818869E}" destId="{50ECB58A-FA48-48A4-A6A8-54C63F9C8B02}" srcOrd="0" destOrd="0" presId="urn:microsoft.com/office/officeart/2005/8/layout/hierarchy2"/>
    <dgm:cxn modelId="{AD698273-ABE9-4549-B17A-8C2E9031502D}" type="presParOf" srcId="{718213CD-0F32-47DC-99AE-8512F818869E}" destId="{7F451EF8-4969-463D-8EB2-B43FC7960AE1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F31EB89-4F11-44ED-9AEE-575734CF726E}">
      <dsp:nvSpPr>
        <dsp:cNvPr id="0" name=""/>
        <dsp:cNvSpPr/>
      </dsp:nvSpPr>
      <dsp:spPr>
        <a:xfrm>
          <a:off x="1803920" y="1975572"/>
          <a:ext cx="1351124" cy="1351124"/>
        </a:xfrm>
        <a:prstGeom prst="ellipse">
          <a:avLst/>
        </a:prstGeom>
        <a:solidFill>
          <a:schemeClr val="tx1">
            <a:lumMod val="20000"/>
            <a:lumOff val="80000"/>
          </a:schemeClr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200" b="1" kern="1200" dirty="0">
              <a:solidFill>
                <a:schemeClr val="tx1"/>
              </a:solidFill>
            </a:rPr>
            <a:t>Vzdelávanie</a:t>
          </a:r>
        </a:p>
      </dsp:txBody>
      <dsp:txXfrm>
        <a:off x="2001788" y="2173440"/>
        <a:ext cx="955388" cy="955388"/>
      </dsp:txXfrm>
    </dsp:sp>
    <dsp:sp modelId="{2F7A521F-C21A-4551-AB87-9B449B4E00AB}">
      <dsp:nvSpPr>
        <dsp:cNvPr id="0" name=""/>
        <dsp:cNvSpPr/>
      </dsp:nvSpPr>
      <dsp:spPr>
        <a:xfrm rot="16200000">
          <a:off x="2335753" y="1541051"/>
          <a:ext cx="287458" cy="459382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20000"/>
            <a:lumOff val="80000"/>
          </a:schemeClr>
        </a:solidFill>
        <a:ln>
          <a:solidFill>
            <a:schemeClr val="tx1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1000" b="1" kern="1200"/>
        </a:p>
      </dsp:txBody>
      <dsp:txXfrm>
        <a:off x="2378872" y="1676046"/>
        <a:ext cx="201221" cy="275630"/>
      </dsp:txXfrm>
    </dsp:sp>
    <dsp:sp modelId="{3FFB5D7C-CFA4-402E-951A-237E709E4A83}">
      <dsp:nvSpPr>
        <dsp:cNvPr id="0" name=""/>
        <dsp:cNvSpPr/>
      </dsp:nvSpPr>
      <dsp:spPr>
        <a:xfrm>
          <a:off x="1803920" y="82074"/>
          <a:ext cx="1351124" cy="1351124"/>
        </a:xfrm>
        <a:prstGeom prst="ellipse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900" b="1" kern="1200" dirty="0"/>
            <a:t>Budovanie kariéry</a:t>
          </a:r>
        </a:p>
      </dsp:txBody>
      <dsp:txXfrm>
        <a:off x="2001788" y="279942"/>
        <a:ext cx="955388" cy="955388"/>
      </dsp:txXfrm>
    </dsp:sp>
    <dsp:sp modelId="{43A73F6D-8844-4381-B552-3B2F8E9BC8CA}">
      <dsp:nvSpPr>
        <dsp:cNvPr id="0" name=""/>
        <dsp:cNvSpPr/>
      </dsp:nvSpPr>
      <dsp:spPr>
        <a:xfrm rot="20520000">
          <a:off x="3228427" y="2189617"/>
          <a:ext cx="287458" cy="459382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20000"/>
            <a:lumOff val="80000"/>
          </a:schemeClr>
        </a:solidFill>
        <a:ln>
          <a:solidFill>
            <a:schemeClr val="tx1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1000" b="1" kern="1200"/>
        </a:p>
      </dsp:txBody>
      <dsp:txXfrm>
        <a:off x="3230537" y="2294817"/>
        <a:ext cx="201221" cy="275630"/>
      </dsp:txXfrm>
    </dsp:sp>
    <dsp:sp modelId="{A29A76EA-6C81-4E8C-A298-18DA18917DC7}">
      <dsp:nvSpPr>
        <dsp:cNvPr id="0" name=""/>
        <dsp:cNvSpPr/>
      </dsp:nvSpPr>
      <dsp:spPr>
        <a:xfrm>
          <a:off x="3604744" y="1390449"/>
          <a:ext cx="1351124" cy="1351124"/>
        </a:xfrm>
        <a:prstGeom prst="ellipse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900" b="1" kern="1200" dirty="0"/>
            <a:t>Základné vzdelávanie</a:t>
          </a:r>
        </a:p>
      </dsp:txBody>
      <dsp:txXfrm>
        <a:off x="3802612" y="1588317"/>
        <a:ext cx="955388" cy="955388"/>
      </dsp:txXfrm>
    </dsp:sp>
    <dsp:sp modelId="{7D881A4E-7B44-4D81-8DDA-D143DCEFCEA2}">
      <dsp:nvSpPr>
        <dsp:cNvPr id="0" name=""/>
        <dsp:cNvSpPr/>
      </dsp:nvSpPr>
      <dsp:spPr>
        <a:xfrm rot="3240000">
          <a:off x="2887456" y="3239019"/>
          <a:ext cx="287458" cy="459382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20000"/>
            <a:lumOff val="80000"/>
          </a:schemeClr>
        </a:solidFill>
        <a:ln>
          <a:solidFill>
            <a:schemeClr val="tx1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1000" b="1" kern="1200"/>
        </a:p>
      </dsp:txBody>
      <dsp:txXfrm>
        <a:off x="2905230" y="3296011"/>
        <a:ext cx="201221" cy="275630"/>
      </dsp:txXfrm>
    </dsp:sp>
    <dsp:sp modelId="{B5CB5C11-4081-4D98-AC34-3D9BB7C1E755}">
      <dsp:nvSpPr>
        <dsp:cNvPr id="0" name=""/>
        <dsp:cNvSpPr/>
      </dsp:nvSpPr>
      <dsp:spPr>
        <a:xfrm>
          <a:off x="2916890" y="3507444"/>
          <a:ext cx="1351124" cy="1351124"/>
        </a:xfrm>
        <a:prstGeom prst="ellipse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900" b="1" kern="1200" dirty="0"/>
            <a:t>Doplňujúce vzdelávacie workshopy</a:t>
          </a:r>
        </a:p>
      </dsp:txBody>
      <dsp:txXfrm>
        <a:off x="3114758" y="3705312"/>
        <a:ext cx="955388" cy="955388"/>
      </dsp:txXfrm>
    </dsp:sp>
    <dsp:sp modelId="{246CADD3-374C-4233-8897-F55E23ABCB8F}">
      <dsp:nvSpPr>
        <dsp:cNvPr id="0" name=""/>
        <dsp:cNvSpPr/>
      </dsp:nvSpPr>
      <dsp:spPr>
        <a:xfrm rot="7560000">
          <a:off x="1784050" y="3209908"/>
          <a:ext cx="287458" cy="459382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20000"/>
            <a:lumOff val="80000"/>
          </a:schemeClr>
        </a:solidFill>
        <a:ln>
          <a:solidFill>
            <a:schemeClr val="tx1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1000" b="1" kern="1200"/>
        </a:p>
      </dsp:txBody>
      <dsp:txXfrm rot="10800000">
        <a:off x="1852513" y="3266900"/>
        <a:ext cx="201221" cy="275630"/>
      </dsp:txXfrm>
    </dsp:sp>
    <dsp:sp modelId="{7F74C23B-53C1-4F93-B4BF-611A5068A121}">
      <dsp:nvSpPr>
        <dsp:cNvPr id="0" name=""/>
        <dsp:cNvSpPr/>
      </dsp:nvSpPr>
      <dsp:spPr>
        <a:xfrm>
          <a:off x="690950" y="3507444"/>
          <a:ext cx="1351124" cy="1351124"/>
        </a:xfrm>
        <a:prstGeom prst="ellipse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900" b="1" kern="1200" dirty="0"/>
            <a:t>Doplňujúce rozvojové workshopy</a:t>
          </a:r>
        </a:p>
      </dsp:txBody>
      <dsp:txXfrm>
        <a:off x="888818" y="3705312"/>
        <a:ext cx="955388" cy="955388"/>
      </dsp:txXfrm>
    </dsp:sp>
    <dsp:sp modelId="{176AA4F4-1B3A-4BF4-AC53-D3B79509ED4B}">
      <dsp:nvSpPr>
        <dsp:cNvPr id="0" name=""/>
        <dsp:cNvSpPr/>
      </dsp:nvSpPr>
      <dsp:spPr>
        <a:xfrm rot="11892701">
          <a:off x="1454641" y="2188511"/>
          <a:ext cx="279801" cy="459382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20000"/>
            <a:lumOff val="80000"/>
          </a:schemeClr>
        </a:solidFill>
        <a:ln>
          <a:solidFill>
            <a:schemeClr val="tx1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1000" b="1" kern="1200"/>
        </a:p>
      </dsp:txBody>
      <dsp:txXfrm rot="10800000">
        <a:off x="1536479" y="2293504"/>
        <a:ext cx="195861" cy="275630"/>
      </dsp:txXfrm>
    </dsp:sp>
    <dsp:sp modelId="{3263963B-425F-43D8-B392-A26425C50C95}">
      <dsp:nvSpPr>
        <dsp:cNvPr id="0" name=""/>
        <dsp:cNvSpPr/>
      </dsp:nvSpPr>
      <dsp:spPr>
        <a:xfrm>
          <a:off x="18994" y="1388315"/>
          <a:ext cx="1351124" cy="1351124"/>
        </a:xfrm>
        <a:prstGeom prst="ellipse">
          <a:avLst/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900" b="1" kern="1200" dirty="0"/>
            <a:t>Praktické skúsenosti </a:t>
          </a:r>
        </a:p>
      </dsp:txBody>
      <dsp:txXfrm>
        <a:off x="216862" y="1586183"/>
        <a:ext cx="955388" cy="95538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6DDDCB1-5041-4691-B87A-CE65413DD119}">
      <dsp:nvSpPr>
        <dsp:cNvPr id="0" name=""/>
        <dsp:cNvSpPr/>
      </dsp:nvSpPr>
      <dsp:spPr>
        <a:xfrm>
          <a:off x="1769718" y="1925559"/>
          <a:ext cx="1325507" cy="1325507"/>
        </a:xfrm>
        <a:prstGeom prst="ellipse">
          <a:avLst/>
        </a:prstGeom>
        <a:solidFill>
          <a:schemeClr val="tx1">
            <a:lumMod val="20000"/>
            <a:lumOff val="80000"/>
          </a:schemeClr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100" b="1" kern="1200" dirty="0">
              <a:solidFill>
                <a:schemeClr val="tx1"/>
              </a:solidFill>
            </a:rPr>
            <a:t>Odmeňovanie a  benefity</a:t>
          </a:r>
        </a:p>
      </dsp:txBody>
      <dsp:txXfrm>
        <a:off x="1963834" y="2119675"/>
        <a:ext cx="937275" cy="937275"/>
      </dsp:txXfrm>
    </dsp:sp>
    <dsp:sp modelId="{61478CD0-AE67-424D-BC3C-8F083716BA70}">
      <dsp:nvSpPr>
        <dsp:cNvPr id="0" name=""/>
        <dsp:cNvSpPr/>
      </dsp:nvSpPr>
      <dsp:spPr>
        <a:xfrm rot="16200000">
          <a:off x="2291141" y="1441561"/>
          <a:ext cx="282661" cy="450672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20000"/>
            <a:lumOff val="80000"/>
          </a:schemeClr>
        </a:solidFill>
        <a:ln>
          <a:solidFill>
            <a:schemeClr val="tx1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900" b="1" kern="1200"/>
        </a:p>
      </dsp:txBody>
      <dsp:txXfrm>
        <a:off x="2333540" y="1574094"/>
        <a:ext cx="197863" cy="270404"/>
      </dsp:txXfrm>
    </dsp:sp>
    <dsp:sp modelId="{1741C381-7DB8-478B-99BA-5E7ADA5BA90F}">
      <dsp:nvSpPr>
        <dsp:cNvPr id="0" name=""/>
        <dsp:cNvSpPr/>
      </dsp:nvSpPr>
      <dsp:spPr>
        <a:xfrm>
          <a:off x="1769718" y="66728"/>
          <a:ext cx="1325507" cy="1325507"/>
        </a:xfrm>
        <a:prstGeom prst="ellipse">
          <a:avLst/>
        </a:prstGeom>
        <a:solidFill>
          <a:schemeClr val="tx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100" b="1" kern="1200" dirty="0"/>
            <a:t>Príspevok na stravu </a:t>
          </a:r>
          <a:br>
            <a:rPr lang="sk-SK" sz="1100" b="1" kern="1200" dirty="0"/>
          </a:br>
          <a:r>
            <a:rPr lang="sk-SK" sz="1100" b="1" kern="1200" dirty="0"/>
            <a:t>4 Eur/</a:t>
          </a:r>
          <a:br>
            <a:rPr lang="sk-SK" sz="1100" b="1" kern="1200" dirty="0"/>
          </a:br>
          <a:r>
            <a:rPr lang="sk-SK" sz="1100" b="1" kern="1200" dirty="0"/>
            <a:t>pracovný deň</a:t>
          </a:r>
        </a:p>
      </dsp:txBody>
      <dsp:txXfrm>
        <a:off x="1963834" y="260844"/>
        <a:ext cx="937275" cy="937275"/>
      </dsp:txXfrm>
    </dsp:sp>
    <dsp:sp modelId="{45D8CD89-4DFD-463F-9B4F-E0529FC76AE9}">
      <dsp:nvSpPr>
        <dsp:cNvPr id="0" name=""/>
        <dsp:cNvSpPr/>
      </dsp:nvSpPr>
      <dsp:spPr>
        <a:xfrm rot="20520000">
          <a:off x="3167459" y="2078243"/>
          <a:ext cx="282661" cy="450672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20000"/>
            <a:lumOff val="80000"/>
          </a:schemeClr>
        </a:solidFill>
        <a:ln>
          <a:solidFill>
            <a:schemeClr val="tx1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900" b="1" kern="1200"/>
        </a:p>
      </dsp:txBody>
      <dsp:txXfrm>
        <a:off x="3169534" y="2181479"/>
        <a:ext cx="197863" cy="270404"/>
      </dsp:txXfrm>
    </dsp:sp>
    <dsp:sp modelId="{82E4A026-4126-40EC-B06F-20285D1B1C23}">
      <dsp:nvSpPr>
        <dsp:cNvPr id="0" name=""/>
        <dsp:cNvSpPr/>
      </dsp:nvSpPr>
      <dsp:spPr>
        <a:xfrm>
          <a:off x="3537571" y="1351149"/>
          <a:ext cx="1325507" cy="1325507"/>
        </a:xfrm>
        <a:prstGeom prst="ellipse">
          <a:avLst/>
        </a:prstGeom>
        <a:solidFill>
          <a:schemeClr val="tx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100" b="1" kern="1200" dirty="0"/>
            <a:t>Hodnotné darčeky</a:t>
          </a:r>
        </a:p>
      </dsp:txBody>
      <dsp:txXfrm>
        <a:off x="3731687" y="1545265"/>
        <a:ext cx="937275" cy="937275"/>
      </dsp:txXfrm>
    </dsp:sp>
    <dsp:sp modelId="{AE4658CD-E0B1-4AFE-A97D-FF08C0F78C6A}">
      <dsp:nvSpPr>
        <dsp:cNvPr id="0" name=""/>
        <dsp:cNvSpPr/>
      </dsp:nvSpPr>
      <dsp:spPr>
        <a:xfrm rot="3240000">
          <a:off x="2832735" y="3108417"/>
          <a:ext cx="282661" cy="450672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20000"/>
            <a:lumOff val="80000"/>
          </a:schemeClr>
        </a:solidFill>
        <a:ln>
          <a:solidFill>
            <a:schemeClr val="tx1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900" b="1" kern="1200"/>
        </a:p>
      </dsp:txBody>
      <dsp:txXfrm>
        <a:off x="2850212" y="3164249"/>
        <a:ext cx="197863" cy="270404"/>
      </dsp:txXfrm>
    </dsp:sp>
    <dsp:sp modelId="{5414BDE0-6F43-485F-9DEF-F174963DDCEB}">
      <dsp:nvSpPr>
        <dsp:cNvPr id="0" name=""/>
        <dsp:cNvSpPr/>
      </dsp:nvSpPr>
      <dsp:spPr>
        <a:xfrm>
          <a:off x="2862311" y="3429385"/>
          <a:ext cx="1325507" cy="1325507"/>
        </a:xfrm>
        <a:prstGeom prst="ellipse">
          <a:avLst/>
        </a:prstGeom>
        <a:solidFill>
          <a:schemeClr val="tx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100" b="1" kern="1200" dirty="0"/>
            <a:t>Školské a pracovné pomôcky</a:t>
          </a:r>
        </a:p>
      </dsp:txBody>
      <dsp:txXfrm>
        <a:off x="3056427" y="3623501"/>
        <a:ext cx="937275" cy="937275"/>
      </dsp:txXfrm>
    </dsp:sp>
    <dsp:sp modelId="{9A7FF0D1-A40B-408A-888F-CD5838F82C22}">
      <dsp:nvSpPr>
        <dsp:cNvPr id="0" name=""/>
        <dsp:cNvSpPr/>
      </dsp:nvSpPr>
      <dsp:spPr>
        <a:xfrm rot="7560000">
          <a:off x="1749546" y="3108417"/>
          <a:ext cx="282661" cy="450672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20000"/>
            <a:lumOff val="80000"/>
          </a:schemeClr>
        </a:solidFill>
        <a:ln>
          <a:solidFill>
            <a:schemeClr val="tx1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900" b="1" kern="1200"/>
        </a:p>
      </dsp:txBody>
      <dsp:txXfrm rot="10800000">
        <a:off x="1816867" y="3164249"/>
        <a:ext cx="197863" cy="270404"/>
      </dsp:txXfrm>
    </dsp:sp>
    <dsp:sp modelId="{0F2ACB6B-ED56-414E-87A2-3FCB8C2B2BED}">
      <dsp:nvSpPr>
        <dsp:cNvPr id="0" name=""/>
        <dsp:cNvSpPr/>
      </dsp:nvSpPr>
      <dsp:spPr>
        <a:xfrm>
          <a:off x="677125" y="3429385"/>
          <a:ext cx="1325507" cy="1325507"/>
        </a:xfrm>
        <a:prstGeom prst="ellipse">
          <a:avLst/>
        </a:prstGeom>
        <a:solidFill>
          <a:schemeClr val="tx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100" b="1" kern="1200" dirty="0"/>
            <a:t>Finančné ohodnotenie 3,50 – 4,40</a:t>
          </a:r>
          <a:br>
            <a:rPr lang="sk-SK" sz="1100" b="1" kern="1200" dirty="0"/>
          </a:br>
          <a:r>
            <a:rPr lang="sk-SK" sz="1100" b="1" kern="1200" dirty="0"/>
            <a:t>Eur/hod</a:t>
          </a:r>
        </a:p>
      </dsp:txBody>
      <dsp:txXfrm>
        <a:off x="871241" y="3623501"/>
        <a:ext cx="937275" cy="937275"/>
      </dsp:txXfrm>
    </dsp:sp>
    <dsp:sp modelId="{41F6F531-9DCB-4BD7-874B-5B1757D3AC9A}">
      <dsp:nvSpPr>
        <dsp:cNvPr id="0" name=""/>
        <dsp:cNvSpPr/>
      </dsp:nvSpPr>
      <dsp:spPr>
        <a:xfrm rot="11880000">
          <a:off x="1414822" y="2078243"/>
          <a:ext cx="282661" cy="450672"/>
        </a:xfrm>
        <a:prstGeom prst="rightArrow">
          <a:avLst>
            <a:gd name="adj1" fmla="val 60000"/>
            <a:gd name="adj2" fmla="val 50000"/>
          </a:avLst>
        </a:prstGeom>
        <a:solidFill>
          <a:schemeClr val="tx1">
            <a:lumMod val="20000"/>
            <a:lumOff val="80000"/>
          </a:schemeClr>
        </a:solidFill>
        <a:ln>
          <a:solidFill>
            <a:schemeClr val="tx1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900" b="1" kern="1200"/>
        </a:p>
      </dsp:txBody>
      <dsp:txXfrm rot="10800000">
        <a:off x="1497545" y="2181479"/>
        <a:ext cx="197863" cy="270404"/>
      </dsp:txXfrm>
    </dsp:sp>
    <dsp:sp modelId="{51EE8F61-5609-484F-9FD9-566304D2AF77}">
      <dsp:nvSpPr>
        <dsp:cNvPr id="0" name=""/>
        <dsp:cNvSpPr/>
      </dsp:nvSpPr>
      <dsp:spPr>
        <a:xfrm>
          <a:off x="1865" y="1351149"/>
          <a:ext cx="1325507" cy="1325507"/>
        </a:xfrm>
        <a:prstGeom prst="ellipse">
          <a:avLst/>
        </a:prstGeom>
        <a:solidFill>
          <a:schemeClr val="tx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100" b="1" kern="1200" dirty="0"/>
            <a:t>Prospechové štipendium </a:t>
          </a:r>
          <a:br>
            <a:rPr lang="sk-SK" sz="1100" b="1" kern="1200" dirty="0"/>
          </a:br>
          <a:r>
            <a:rPr lang="sk-SK" sz="1100" b="1" kern="1200" dirty="0"/>
            <a:t>250 – 500 Eur ročne</a:t>
          </a:r>
        </a:p>
      </dsp:txBody>
      <dsp:txXfrm>
        <a:off x="195981" y="1545265"/>
        <a:ext cx="937275" cy="93727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CEE9FA-5607-4779-AD9E-44CA93C32388}">
      <dsp:nvSpPr>
        <dsp:cNvPr id="0" name=""/>
        <dsp:cNvSpPr/>
      </dsp:nvSpPr>
      <dsp:spPr>
        <a:xfrm>
          <a:off x="139323" y="2342883"/>
          <a:ext cx="1570249" cy="785124"/>
        </a:xfrm>
        <a:prstGeom prst="roundRect">
          <a:avLst>
            <a:gd name="adj" fmla="val 10000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6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Absolventi duálneho vzdelávania</a:t>
          </a:r>
        </a:p>
      </dsp:txBody>
      <dsp:txXfrm>
        <a:off x="162318" y="2365878"/>
        <a:ext cx="1524259" cy="739134"/>
      </dsp:txXfrm>
    </dsp:sp>
    <dsp:sp modelId="{26B096CE-DFA3-429E-B9E7-98CA372D1587}">
      <dsp:nvSpPr>
        <dsp:cNvPr id="0" name=""/>
        <dsp:cNvSpPr/>
      </dsp:nvSpPr>
      <dsp:spPr>
        <a:xfrm rot="17614797">
          <a:off x="1238553" y="2000459"/>
          <a:ext cx="1570137" cy="30937"/>
        </a:xfrm>
        <a:custGeom>
          <a:avLst/>
          <a:gdLst/>
          <a:ahLst/>
          <a:cxnLst/>
          <a:rect l="0" t="0" r="0" b="0"/>
          <a:pathLst>
            <a:path>
              <a:moveTo>
                <a:pt x="0" y="15468"/>
              </a:moveTo>
              <a:lnTo>
                <a:pt x="1570137" y="15468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500" kern="1200"/>
        </a:p>
      </dsp:txBody>
      <dsp:txXfrm>
        <a:off x="1984369" y="1976674"/>
        <a:ext cx="78506" cy="78506"/>
      </dsp:txXfrm>
    </dsp:sp>
    <dsp:sp modelId="{7453036E-E3F1-490C-826D-6B058671232A}">
      <dsp:nvSpPr>
        <dsp:cNvPr id="0" name=""/>
        <dsp:cNvSpPr/>
      </dsp:nvSpPr>
      <dsp:spPr>
        <a:xfrm>
          <a:off x="2337672" y="903848"/>
          <a:ext cx="1570249" cy="785124"/>
        </a:xfrm>
        <a:prstGeom prst="roundRect">
          <a:avLst>
            <a:gd name="adj" fmla="val 10000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600" b="1" kern="1200" dirty="0"/>
            <a:t>Prechod na TPP</a:t>
          </a:r>
        </a:p>
      </dsp:txBody>
      <dsp:txXfrm>
        <a:off x="2360667" y="926843"/>
        <a:ext cx="1524259" cy="739134"/>
      </dsp:txXfrm>
    </dsp:sp>
    <dsp:sp modelId="{1564C958-3150-4416-94A6-1C995D65A6B4}">
      <dsp:nvSpPr>
        <dsp:cNvPr id="0" name=""/>
        <dsp:cNvSpPr/>
      </dsp:nvSpPr>
      <dsp:spPr>
        <a:xfrm rot="18289469">
          <a:off x="3672034" y="829495"/>
          <a:ext cx="1099875" cy="30937"/>
        </a:xfrm>
        <a:custGeom>
          <a:avLst/>
          <a:gdLst/>
          <a:ahLst/>
          <a:cxnLst/>
          <a:rect l="0" t="0" r="0" b="0"/>
          <a:pathLst>
            <a:path>
              <a:moveTo>
                <a:pt x="0" y="15468"/>
              </a:moveTo>
              <a:lnTo>
                <a:pt x="1099875" y="1546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500" kern="1200"/>
        </a:p>
      </dsp:txBody>
      <dsp:txXfrm>
        <a:off x="4194475" y="817466"/>
        <a:ext cx="54993" cy="54993"/>
      </dsp:txXfrm>
    </dsp:sp>
    <dsp:sp modelId="{E4DE7F5F-B7F4-4A72-B3CB-713552BA4283}">
      <dsp:nvSpPr>
        <dsp:cNvPr id="0" name=""/>
        <dsp:cNvSpPr/>
      </dsp:nvSpPr>
      <dsp:spPr>
        <a:xfrm>
          <a:off x="4536022" y="954"/>
          <a:ext cx="1570249" cy="785124"/>
        </a:xfrm>
        <a:prstGeom prst="roundRect">
          <a:avLst>
            <a:gd name="adj" fmla="val 10000"/>
          </a:avLst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600" b="1" kern="1200" dirty="0"/>
            <a:t>PP</a:t>
          </a:r>
        </a:p>
      </dsp:txBody>
      <dsp:txXfrm>
        <a:off x="4559017" y="23949"/>
        <a:ext cx="1524259" cy="739134"/>
      </dsp:txXfrm>
    </dsp:sp>
    <dsp:sp modelId="{AB8E288B-A608-48B8-9918-CFD93FB88C03}">
      <dsp:nvSpPr>
        <dsp:cNvPr id="0" name=""/>
        <dsp:cNvSpPr/>
      </dsp:nvSpPr>
      <dsp:spPr>
        <a:xfrm>
          <a:off x="3907922" y="1280941"/>
          <a:ext cx="628099" cy="30937"/>
        </a:xfrm>
        <a:custGeom>
          <a:avLst/>
          <a:gdLst/>
          <a:ahLst/>
          <a:cxnLst/>
          <a:rect l="0" t="0" r="0" b="0"/>
          <a:pathLst>
            <a:path>
              <a:moveTo>
                <a:pt x="0" y="15468"/>
              </a:moveTo>
              <a:lnTo>
                <a:pt x="628099" y="1546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500" kern="1200"/>
        </a:p>
      </dsp:txBody>
      <dsp:txXfrm>
        <a:off x="4206269" y="1280708"/>
        <a:ext cx="31404" cy="31404"/>
      </dsp:txXfrm>
    </dsp:sp>
    <dsp:sp modelId="{9CCA9061-8012-429B-95C7-4BDCB7EDD49F}">
      <dsp:nvSpPr>
        <dsp:cNvPr id="0" name=""/>
        <dsp:cNvSpPr/>
      </dsp:nvSpPr>
      <dsp:spPr>
        <a:xfrm>
          <a:off x="4536022" y="903848"/>
          <a:ext cx="1570249" cy="785124"/>
        </a:xfrm>
        <a:prstGeom prst="roundRect">
          <a:avLst>
            <a:gd name="adj" fmla="val 10000"/>
          </a:avLst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600" b="1" kern="1200" dirty="0"/>
            <a:t>AMP</a:t>
          </a:r>
        </a:p>
      </dsp:txBody>
      <dsp:txXfrm>
        <a:off x="4559017" y="926843"/>
        <a:ext cx="1524259" cy="739134"/>
      </dsp:txXfrm>
    </dsp:sp>
    <dsp:sp modelId="{2225C66A-8AF5-4520-8726-1C687A6DBC19}">
      <dsp:nvSpPr>
        <dsp:cNvPr id="0" name=""/>
        <dsp:cNvSpPr/>
      </dsp:nvSpPr>
      <dsp:spPr>
        <a:xfrm rot="3310531">
          <a:off x="3672034" y="1732388"/>
          <a:ext cx="1099875" cy="30937"/>
        </a:xfrm>
        <a:custGeom>
          <a:avLst/>
          <a:gdLst/>
          <a:ahLst/>
          <a:cxnLst/>
          <a:rect l="0" t="0" r="0" b="0"/>
          <a:pathLst>
            <a:path>
              <a:moveTo>
                <a:pt x="0" y="15468"/>
              </a:moveTo>
              <a:lnTo>
                <a:pt x="1099875" y="1546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500" kern="1200"/>
        </a:p>
      </dsp:txBody>
      <dsp:txXfrm>
        <a:off x="4194475" y="1720360"/>
        <a:ext cx="54993" cy="54993"/>
      </dsp:txXfrm>
    </dsp:sp>
    <dsp:sp modelId="{6A952100-47C5-4A26-B98C-B7EC99722227}">
      <dsp:nvSpPr>
        <dsp:cNvPr id="0" name=""/>
        <dsp:cNvSpPr/>
      </dsp:nvSpPr>
      <dsp:spPr>
        <a:xfrm>
          <a:off x="4536022" y="1806741"/>
          <a:ext cx="1570249" cy="785124"/>
        </a:xfrm>
        <a:prstGeom prst="roundRect">
          <a:avLst>
            <a:gd name="adj" fmla="val 10000"/>
          </a:avLst>
        </a:prstGeom>
        <a:solidFill>
          <a:schemeClr val="tx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600" b="1" kern="1200" dirty="0" err="1"/>
            <a:t>Trainee</a:t>
          </a:r>
          <a:r>
            <a:rPr lang="sk-SK" sz="1600" b="1" kern="1200" dirty="0"/>
            <a:t> MP</a:t>
          </a:r>
        </a:p>
      </dsp:txBody>
      <dsp:txXfrm>
        <a:off x="4559017" y="1829736"/>
        <a:ext cx="1524259" cy="739134"/>
      </dsp:txXfrm>
    </dsp:sp>
    <dsp:sp modelId="{86FF45C2-7D30-48F9-97B6-0B543D71E133}">
      <dsp:nvSpPr>
        <dsp:cNvPr id="0" name=""/>
        <dsp:cNvSpPr/>
      </dsp:nvSpPr>
      <dsp:spPr>
        <a:xfrm rot="2429032">
          <a:off x="1610719" y="2988048"/>
          <a:ext cx="825807" cy="30937"/>
        </a:xfrm>
        <a:custGeom>
          <a:avLst/>
          <a:gdLst/>
          <a:ahLst/>
          <a:cxnLst/>
          <a:rect l="0" t="0" r="0" b="0"/>
          <a:pathLst>
            <a:path>
              <a:moveTo>
                <a:pt x="0" y="15468"/>
              </a:moveTo>
              <a:lnTo>
                <a:pt x="825807" y="15468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500" kern="1200"/>
        </a:p>
      </dsp:txBody>
      <dsp:txXfrm>
        <a:off x="2002977" y="2982872"/>
        <a:ext cx="41290" cy="41290"/>
      </dsp:txXfrm>
    </dsp:sp>
    <dsp:sp modelId="{79D1025C-427F-44BE-A610-398E01F2893E}">
      <dsp:nvSpPr>
        <dsp:cNvPr id="0" name=""/>
        <dsp:cNvSpPr/>
      </dsp:nvSpPr>
      <dsp:spPr>
        <a:xfrm>
          <a:off x="2337672" y="2879025"/>
          <a:ext cx="1570249" cy="785124"/>
        </a:xfrm>
        <a:prstGeom prst="roundRect">
          <a:avLst>
            <a:gd name="adj" fmla="val 10000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hemeClr val="accent5"/>
        </a:lnRef>
        <a:fillRef idx="3">
          <a:schemeClr val="accent5"/>
        </a:fillRef>
        <a:effectRef idx="3">
          <a:schemeClr val="accent5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600" b="1" kern="1200" dirty="0"/>
            <a:t>Štúdium na VŠ</a:t>
          </a:r>
        </a:p>
      </dsp:txBody>
      <dsp:txXfrm>
        <a:off x="2360667" y="2902020"/>
        <a:ext cx="1524259" cy="739134"/>
      </dsp:txXfrm>
    </dsp:sp>
    <dsp:sp modelId="{A025D260-B212-4BA3-9CFB-218412D16966}">
      <dsp:nvSpPr>
        <dsp:cNvPr id="0" name=""/>
        <dsp:cNvSpPr/>
      </dsp:nvSpPr>
      <dsp:spPr>
        <a:xfrm rot="20022033">
          <a:off x="3871661" y="3100910"/>
          <a:ext cx="700620" cy="30937"/>
        </a:xfrm>
        <a:custGeom>
          <a:avLst/>
          <a:gdLst/>
          <a:ahLst/>
          <a:cxnLst/>
          <a:rect l="0" t="0" r="0" b="0"/>
          <a:pathLst>
            <a:path>
              <a:moveTo>
                <a:pt x="0" y="15468"/>
              </a:moveTo>
              <a:lnTo>
                <a:pt x="700620" y="1546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500" kern="1200"/>
        </a:p>
      </dsp:txBody>
      <dsp:txXfrm>
        <a:off x="4204456" y="3098863"/>
        <a:ext cx="35031" cy="35031"/>
      </dsp:txXfrm>
    </dsp:sp>
    <dsp:sp modelId="{E598096E-A5D1-4E25-BA13-2A4479411583}">
      <dsp:nvSpPr>
        <dsp:cNvPr id="0" name=""/>
        <dsp:cNvSpPr/>
      </dsp:nvSpPr>
      <dsp:spPr>
        <a:xfrm>
          <a:off x="4536022" y="2709635"/>
          <a:ext cx="1565538" cy="503068"/>
        </a:xfrm>
        <a:prstGeom prst="roundRect">
          <a:avLst>
            <a:gd name="adj" fmla="val 10000"/>
          </a:avLst>
        </a:prstGeom>
        <a:solidFill>
          <a:schemeClr val="tx1"/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hemeClr val="accent5"/>
        </a:lnRef>
        <a:fillRef idx="3">
          <a:schemeClr val="accent5"/>
        </a:fillRef>
        <a:effectRef idx="3">
          <a:schemeClr val="accent5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600" b="1" kern="1200" dirty="0"/>
            <a:t>Lidl </a:t>
          </a:r>
          <a:r>
            <a:rPr lang="sk-SK" sz="1600" b="1" kern="1200" dirty="0" err="1"/>
            <a:t>Insiders</a:t>
          </a:r>
          <a:r>
            <a:rPr lang="sk-SK" sz="1600" b="1" kern="1200" dirty="0"/>
            <a:t> - stážisti</a:t>
          </a:r>
        </a:p>
      </dsp:txBody>
      <dsp:txXfrm>
        <a:off x="4550756" y="2724369"/>
        <a:ext cx="1536070" cy="473600"/>
      </dsp:txXfrm>
    </dsp:sp>
    <dsp:sp modelId="{08CEAAB7-A6F3-4228-9B8B-2EEE62E7F68A}">
      <dsp:nvSpPr>
        <dsp:cNvPr id="0" name=""/>
        <dsp:cNvSpPr/>
      </dsp:nvSpPr>
      <dsp:spPr>
        <a:xfrm rot="1577967">
          <a:off x="3871661" y="3411329"/>
          <a:ext cx="700620" cy="30937"/>
        </a:xfrm>
        <a:custGeom>
          <a:avLst/>
          <a:gdLst/>
          <a:ahLst/>
          <a:cxnLst/>
          <a:rect l="0" t="0" r="0" b="0"/>
          <a:pathLst>
            <a:path>
              <a:moveTo>
                <a:pt x="0" y="15468"/>
              </a:moveTo>
              <a:lnTo>
                <a:pt x="700620" y="1546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500" kern="1200"/>
        </a:p>
      </dsp:txBody>
      <dsp:txXfrm>
        <a:off x="4204456" y="3409282"/>
        <a:ext cx="35031" cy="35031"/>
      </dsp:txXfrm>
    </dsp:sp>
    <dsp:sp modelId="{3264A325-BABE-4AF5-B0E3-5CFE2B14F8A6}">
      <dsp:nvSpPr>
        <dsp:cNvPr id="0" name=""/>
        <dsp:cNvSpPr/>
      </dsp:nvSpPr>
      <dsp:spPr>
        <a:xfrm>
          <a:off x="4536022" y="3330472"/>
          <a:ext cx="1565538" cy="503068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600" b="1" kern="1200" dirty="0">
              <a:solidFill>
                <a:schemeClr val="tx1"/>
              </a:solidFill>
            </a:rPr>
            <a:t>Iná spoločnosť</a:t>
          </a:r>
        </a:p>
      </dsp:txBody>
      <dsp:txXfrm>
        <a:off x="4550756" y="3345206"/>
        <a:ext cx="1536070" cy="473600"/>
      </dsp:txXfrm>
    </dsp:sp>
    <dsp:sp modelId="{36A5E6A1-2CE3-45E6-B2D7-D4D67592CE51}">
      <dsp:nvSpPr>
        <dsp:cNvPr id="0" name=""/>
        <dsp:cNvSpPr/>
      </dsp:nvSpPr>
      <dsp:spPr>
        <a:xfrm rot="3985203">
          <a:off x="1238553" y="3439495"/>
          <a:ext cx="1570137" cy="30937"/>
        </a:xfrm>
        <a:custGeom>
          <a:avLst/>
          <a:gdLst/>
          <a:ahLst/>
          <a:cxnLst/>
          <a:rect l="0" t="0" r="0" b="0"/>
          <a:pathLst>
            <a:path>
              <a:moveTo>
                <a:pt x="0" y="15468"/>
              </a:moveTo>
              <a:lnTo>
                <a:pt x="1570137" y="15468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500" kern="1200"/>
        </a:p>
      </dsp:txBody>
      <dsp:txXfrm>
        <a:off x="1984369" y="3415710"/>
        <a:ext cx="78506" cy="78506"/>
      </dsp:txXfrm>
    </dsp:sp>
    <dsp:sp modelId="{50ECB58A-FA48-48A4-A6A8-54C63F9C8B02}">
      <dsp:nvSpPr>
        <dsp:cNvPr id="0" name=""/>
        <dsp:cNvSpPr/>
      </dsp:nvSpPr>
      <dsp:spPr>
        <a:xfrm>
          <a:off x="2337672" y="3781919"/>
          <a:ext cx="1570249" cy="785124"/>
        </a:xfrm>
        <a:prstGeom prst="roundRect">
          <a:avLst>
            <a:gd name="adj" fmla="val 10000"/>
          </a:avLst>
        </a:prstGeom>
        <a:solidFill>
          <a:prstClr val="white">
            <a:lumMod val="95000"/>
          </a:prstClr>
        </a:solidFill>
        <a:ln w="12700" cap="flat" cmpd="sng" algn="ctr">
          <a:solidFill>
            <a:srgbClr val="0050AA"/>
          </a:solidFill>
          <a:prstDash val="solid"/>
          <a:miter lim="800000"/>
        </a:ln>
        <a:effectLst/>
      </dsp:spPr>
      <dsp:style>
        <a:lnRef idx="0">
          <a:schemeClr val="accent5"/>
        </a:lnRef>
        <a:fillRef idx="3">
          <a:schemeClr val="accent5"/>
        </a:fillRef>
        <a:effectRef idx="3">
          <a:schemeClr val="accent5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600" b="1" kern="1200" dirty="0">
              <a:solidFill>
                <a:srgbClr val="0050AA"/>
              </a:solidFill>
              <a:latin typeface="Lidl Font Pro"/>
              <a:ea typeface="+mn-ea"/>
              <a:cs typeface="+mn-cs"/>
            </a:rPr>
            <a:t>(Predčasné) ukončenie spolupráce</a:t>
          </a:r>
        </a:p>
      </dsp:txBody>
      <dsp:txXfrm>
        <a:off x="2360667" y="3804914"/>
        <a:ext cx="1524259" cy="7391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76672" y="251520"/>
            <a:ext cx="2971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/>
            </a:lvl1pPr>
          </a:lstStyle>
          <a:p>
            <a:endParaRPr lang="de-DE" sz="1000" dirty="0"/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836792" y="8748480"/>
            <a:ext cx="720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606352C4-00F2-4378-880D-566B190ADEE4}" type="datetime1">
              <a:rPr lang="de-DE" sz="1000" smtClean="0"/>
              <a:pPr/>
              <a:t>16.02.2022</a:t>
            </a:fld>
            <a:endParaRPr lang="de-DE" sz="1000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2"/>
          </p:nvPr>
        </p:nvSpPr>
        <p:spPr bwMode="gray">
          <a:xfrm>
            <a:off x="1629152" y="8748480"/>
            <a:ext cx="4320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de-DE" sz="1000" dirty="0"/>
              <a:t>Titel der Präsentation</a:t>
            </a:r>
          </a:p>
        </p:txBody>
      </p:sp>
      <p:sp>
        <p:nvSpPr>
          <p:cNvPr id="12" name="Foliennummernplatzhalter 5"/>
          <p:cNvSpPr>
            <a:spLocks noGrp="1"/>
          </p:cNvSpPr>
          <p:nvPr>
            <p:ph type="sldNum" sz="quarter" idx="3"/>
          </p:nvPr>
        </p:nvSpPr>
        <p:spPr bwMode="gray">
          <a:xfrm>
            <a:off x="477056" y="8748480"/>
            <a:ext cx="287648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8FF9B0DE-3FEB-4AA0-B465-B80EF7C1333D}" type="slidenum">
              <a:rPr lang="de-DE" sz="1000" smtClean="0"/>
              <a:pPr/>
              <a:t>‹#›</a:t>
            </a:fld>
            <a:endParaRPr lang="de-DE" sz="1000" dirty="0"/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100DC1A3-38F4-4091-95C5-EC9F6E78B37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337" y="8532456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86119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pos="302" userDrawn="1">
          <p15:clr>
            <a:srgbClr val="F26B43"/>
          </p15:clr>
        </p15:guide>
        <p15:guide id="2" pos="402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179763" y="684213"/>
            <a:ext cx="3200400" cy="180022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76672" y="2771784"/>
            <a:ext cx="5904000" cy="547216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476672" y="251520"/>
            <a:ext cx="29718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endParaRPr lang="de-DE" sz="1000" dirty="0"/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836792" y="8748480"/>
            <a:ext cx="720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606352C4-00F2-4378-880D-566B190ADEE4}" type="datetime1">
              <a:rPr lang="de-DE" sz="1000" smtClean="0"/>
              <a:pPr/>
              <a:t>16.02.2022</a:t>
            </a:fld>
            <a:endParaRPr lang="de-DE" sz="1000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4"/>
          </p:nvPr>
        </p:nvSpPr>
        <p:spPr bwMode="gray">
          <a:xfrm>
            <a:off x="1629152" y="8748480"/>
            <a:ext cx="4320000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sz="1000" dirty="0"/>
              <a:t>Titel der Präsentation</a:t>
            </a: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5"/>
          </p:nvPr>
        </p:nvSpPr>
        <p:spPr bwMode="gray">
          <a:xfrm>
            <a:off x="477056" y="8748480"/>
            <a:ext cx="287648" cy="14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700">
                <a:solidFill>
                  <a:schemeClr val="tx1"/>
                </a:solidFill>
                <a:latin typeface="+mn-lt"/>
              </a:defRPr>
            </a:lvl1pPr>
          </a:lstStyle>
          <a:p>
            <a:fld id="{8FF9B0DE-3FEB-4AA0-B465-B80EF7C1333D}" type="slidenum">
              <a:rPr lang="de-DE" sz="1000" smtClean="0"/>
              <a:pPr/>
              <a:t>‹#›</a:t>
            </a:fld>
            <a:endParaRPr lang="de-DE" sz="1000" dirty="0"/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F0B15FF4-5A8B-4F80-B8F7-8FCB3C15FF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337" y="8532456"/>
            <a:ext cx="36000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1987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lnSpc>
        <a:spcPct val="110000"/>
      </a:lnSpc>
      <a:spcBef>
        <a:spcPts val="1200"/>
      </a:spcBef>
      <a:defRPr sz="1333" b="1" i="0" kern="1200">
        <a:solidFill>
          <a:schemeClr val="tx1"/>
        </a:solidFill>
        <a:latin typeface="Lidl Font Pro" panose="02000000000000000000" pitchFamily="2" charset="0"/>
        <a:ea typeface="+mn-ea"/>
        <a:cs typeface="+mn-cs"/>
      </a:defRPr>
    </a:lvl1pPr>
  </p:notesStyle>
  <p:extLst>
    <p:ext uri="{620B2872-D7B9-4A21-9093-7833F8D536E1}">
      <p15:sldGuideLst xmlns:p15="http://schemas.microsoft.com/office/powerpoint/2012/main">
        <p15:guide id="1" pos="302" userDrawn="1">
          <p15:clr>
            <a:srgbClr val="F26B43"/>
          </p15:clr>
        </p15:guide>
        <p15:guide id="2" pos="402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9B0DE-3FEB-4AA0-B465-B80EF7C1333D}" type="slidenum">
              <a:rPr lang="de-DE" sz="1000" smtClean="0"/>
              <a:pPr/>
              <a:t>3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6602565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obrazu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oznámo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F9B0DE-3FEB-4AA0-B465-B80EF7C1333D}" type="slidenum">
              <a:rPr lang="de-DE" sz="1000" smtClean="0"/>
              <a:pPr/>
              <a:t>4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6693359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obrazu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oznámo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F9B0DE-3FEB-4AA0-B465-B80EF7C1333D}" type="slidenum">
              <a:rPr lang="de-DE" sz="1000" smtClean="0"/>
              <a:pPr/>
              <a:t>5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3998920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DE" sz="1000" b="1" i="0" u="none" strike="noStrike" kern="1200" cap="none" spc="0" normalizeH="0" baseline="0" noProof="0" smtClean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50AA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61669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obrazu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oznámo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k-SK" dirty="0"/>
              <a:t>- Bližšie rozviť jednotlivé body na ďalší slide a dať bližšie </a:t>
            </a:r>
            <a:r>
              <a:rPr lang="sk-SK" dirty="0" err="1"/>
              <a:t>info</a:t>
            </a:r>
            <a:r>
              <a:rPr lang="sk-SK" dirty="0"/>
              <a:t> (kvôli </a:t>
            </a:r>
            <a:r>
              <a:rPr lang="sk-SK" dirty="0" err="1"/>
              <a:t>infu</a:t>
            </a:r>
            <a:r>
              <a:rPr lang="sk-SK" dirty="0"/>
              <a:t> pre školy)</a:t>
            </a:r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F9B0DE-3FEB-4AA0-B465-B80EF7C1333D}" type="slidenum">
              <a:rPr lang="de-DE" sz="1000" smtClean="0"/>
              <a:pPr/>
              <a:t>7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6272489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obrazu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oznámo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sk-SK" sz="1000" b="0" dirty="0">
                <a:solidFill>
                  <a:schemeClr val="tx1"/>
                </a:solidFill>
              </a:rPr>
            </a:br>
            <a:endParaRPr lang="sk-SK" dirty="0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F9B0DE-3FEB-4AA0-B465-B80EF7C1333D}" type="slidenum">
              <a:rPr lang="de-DE" sz="1000" smtClean="0"/>
              <a:pPr/>
              <a:t>8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4921932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k-SK" dirty="0"/>
              <a:t>Žiaci duálneho vzdelávania môžu po skončení štúdia ostať u nás v Lidl pracovať na jednej z troch uvedených pozícii: predavač/pokladník, asistent predajne alebo MP </a:t>
            </a:r>
            <a:r>
              <a:rPr lang="sk-SK" dirty="0" err="1"/>
              <a:t>trainee</a:t>
            </a:r>
            <a:r>
              <a:rPr lang="sk-SK" dirty="0"/>
              <a:t>. Zvolená pozícia závisí od šikovnosti žiaka a spokojnosti s jeho výkonom počas duálneho vzdelávania. Ak žiak začne ako predavač/pokladník, môže sa časom vypracovať na vyššie pozície. V rámci spoločnosti máme viacero príkladov, kedy sa z pozície predavač/pokladník zamestnanci vypracovali na regionálnych manažérov či dokonca na generálneho riaditeľa. </a:t>
            </a:r>
            <a:r>
              <a:rPr lang="sk-SK" dirty="0">
                <a:sym typeface="Wingdings" panose="05000000000000000000" pitchFamily="2" charset="2"/>
              </a:rPr>
              <a:t></a:t>
            </a:r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FF9B0DE-3FEB-4AA0-B465-B80EF7C1333D}" type="slidenum">
              <a:rPr lang="de-DE" sz="1000" smtClean="0"/>
              <a:pPr/>
              <a:t>10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8806935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179763" y="684213"/>
            <a:ext cx="3200400" cy="18002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5492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DE" sz="1000" b="1" i="0" u="none" strike="noStrike" kern="1200" cap="none" spc="0" normalizeH="0" baseline="0" noProof="0" smtClean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50AA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01665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0.xml"/><Relationship Id="rId7" Type="http://schemas.openxmlformats.org/officeDocument/2006/relationships/image" Target="../media/image4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2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4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1.xml"/><Relationship Id="rId7" Type="http://schemas.openxmlformats.org/officeDocument/2006/relationships/image" Target="../media/image4.png"/><Relationship Id="rId2" Type="http://schemas.openxmlformats.org/officeDocument/2006/relationships/tags" Target="../tags/tag40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.emf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3.xml"/><Relationship Id="rId7" Type="http://schemas.openxmlformats.org/officeDocument/2006/relationships/image" Target="../media/image6.png"/><Relationship Id="rId2" Type="http://schemas.openxmlformats.org/officeDocument/2006/relationships/tags" Target="../tags/tag42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.emf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0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41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2.bin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3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2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3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2.xml"/><Relationship Id="rId7" Type="http://schemas.openxmlformats.org/officeDocument/2006/relationships/image" Target="../media/image4.png"/><Relationship Id="rId2" Type="http://schemas.openxmlformats.org/officeDocument/2006/relationships/tags" Target="../tags/tag61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2.emf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4.xml"/><Relationship Id="rId7" Type="http://schemas.openxmlformats.org/officeDocument/2006/relationships/image" Target="../media/image6.png"/><Relationship Id="rId2" Type="http://schemas.openxmlformats.org/officeDocument/2006/relationships/tags" Target="../tags/tag63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2.emf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343472" y="1557339"/>
            <a:ext cx="8856000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43472" y="3357152"/>
            <a:ext cx="8856000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50" name="Textplatzhalter 9">
            <a:extLst>
              <a:ext uri="{FF2B5EF4-FFF2-40B4-BE49-F238E27FC236}">
                <a16:creationId xmlns:a16="http://schemas.microsoft.com/office/drawing/2014/main" id="{3656EE1D-B61E-47A5-9B5C-F55BD7EAF9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5733296"/>
            <a:ext cx="6912018" cy="360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x.Monat.xxxx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CC72B5D-EB52-4429-B211-425945C57B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1340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mit Bild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4" hidden="1">
            <a:extLst>
              <a:ext uri="{FF2B5EF4-FFF2-40B4-BE49-F238E27FC236}">
                <a16:creationId xmlns:a16="http://schemas.microsoft.com/office/drawing/2014/main" id="{F86DD87C-3A58-45E5-8112-44900FCBFC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7730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5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5" name="Obiekt 4" hidden="1">
                        <a:extLst>
                          <a:ext uri="{FF2B5EF4-FFF2-40B4-BE49-F238E27FC236}">
                            <a16:creationId xmlns:a16="http://schemas.microsoft.com/office/drawing/2014/main" id="{F86DD87C-3A58-45E5-8112-44900FCBFC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4537075" cy="1655478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4537075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</a:t>
            </a:r>
          </a:p>
          <a:p>
            <a:pPr lvl="6"/>
            <a:r>
              <a:rPr lang="de-DE" dirty="0"/>
              <a:t>Sieben</a:t>
            </a:r>
          </a:p>
          <a:p>
            <a:pPr lvl="7"/>
            <a:r>
              <a:rPr lang="de-DE" dirty="0"/>
              <a:t>Acht</a:t>
            </a:r>
          </a:p>
          <a:p>
            <a:pPr lvl="8"/>
            <a:r>
              <a:rPr lang="de-DE" dirty="0"/>
              <a:t>Neu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8183562" y="0"/>
            <a:ext cx="4008437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9015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11E6238-6B3F-42F9-B0C2-E51B74CFD7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0102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9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11E6238-6B3F-42F9-B0C2-E51B74CFD7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8" y="1557338"/>
            <a:ext cx="11376025" cy="44640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9" name="Symbol zastępczy daty 8">
            <a:extLst>
              <a:ext uri="{FF2B5EF4-FFF2-40B4-BE49-F238E27FC236}">
                <a16:creationId xmlns:a16="http://schemas.microsoft.com/office/drawing/2014/main" id="{7EC46B94-0D08-4CE0-B22F-D813B47C932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r>
              <a:rPr lang="de-DE"/>
              <a:t>X. Monat 202X</a:t>
            </a:r>
            <a:endParaRPr lang="de-DE" dirty="0"/>
          </a:p>
        </p:txBody>
      </p:sp>
      <p:sp>
        <p:nvSpPr>
          <p:cNvPr id="11" name="Symbol zastępczy stopki 10">
            <a:extLst>
              <a:ext uri="{FF2B5EF4-FFF2-40B4-BE49-F238E27FC236}">
                <a16:creationId xmlns:a16="http://schemas.microsoft.com/office/drawing/2014/main" id="{7E5D491C-8758-458C-A681-72200280927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owerPoint Master</a:t>
            </a:r>
          </a:p>
        </p:txBody>
      </p:sp>
      <p:sp>
        <p:nvSpPr>
          <p:cNvPr id="15" name="Symbol zastępczy numeru slajdu 14">
            <a:extLst>
              <a:ext uri="{FF2B5EF4-FFF2-40B4-BE49-F238E27FC236}">
                <a16:creationId xmlns:a16="http://schemas.microsoft.com/office/drawing/2014/main" id="{B2750AB2-2DA9-4CAA-8087-9BBAEB9922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490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 userDrawn="1">
          <p15:clr>
            <a:srgbClr val="5ACBF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6C32A24-1D2F-41A7-87DA-EE021ABD9D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627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3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6C32A24-1D2F-41A7-87DA-EE021ABD9D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EF87B94-0E4E-4D4D-90D2-45EA54A6DECB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6312632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Symbol zastępczy daty 10">
            <a:extLst>
              <a:ext uri="{FF2B5EF4-FFF2-40B4-BE49-F238E27FC236}">
                <a16:creationId xmlns:a16="http://schemas.microsoft.com/office/drawing/2014/main" id="{0C373CB0-8B8A-4362-B863-C95BECC62E2E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algn="r"/>
            <a:r>
              <a:rPr lang="de-DE"/>
              <a:t>X. Monat 202X</a:t>
            </a:r>
            <a:endParaRPr lang="de-DE" dirty="0"/>
          </a:p>
        </p:txBody>
      </p:sp>
      <p:sp>
        <p:nvSpPr>
          <p:cNvPr id="15" name="Symbol zastępczy stopki 14">
            <a:extLst>
              <a:ext uri="{FF2B5EF4-FFF2-40B4-BE49-F238E27FC236}">
                <a16:creationId xmlns:a16="http://schemas.microsoft.com/office/drawing/2014/main" id="{BA1D980C-59AB-43EF-9509-A6F5649B043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dirty="0"/>
              <a:t>PowerPoint Master</a:t>
            </a:r>
          </a:p>
        </p:txBody>
      </p:sp>
      <p:sp>
        <p:nvSpPr>
          <p:cNvPr id="16" name="Symbol zastępczy numeru slajdu 15">
            <a:extLst>
              <a:ext uri="{FF2B5EF4-FFF2-40B4-BE49-F238E27FC236}">
                <a16:creationId xmlns:a16="http://schemas.microsoft.com/office/drawing/2014/main" id="{6AD11080-1B0E-49C4-9D36-0DBD7E44AC7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56852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18E44A-F63E-4819-AF26-29E2960B67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54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7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818E44A-F63E-4819-AF26-29E2960B67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6792"/>
            <a:ext cx="3600000" cy="4464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EF87B94-0E4E-4D4D-90D2-45EA54A6DECB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4295800" y="1557213"/>
            <a:ext cx="3600000" cy="4464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EC89F919-1B13-4706-A895-5230C18E4967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 bwMode="gray">
          <a:xfrm>
            <a:off x="8184632" y="1557338"/>
            <a:ext cx="3600000" cy="4464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5" name="Symbol zastępczy daty 14">
            <a:extLst>
              <a:ext uri="{FF2B5EF4-FFF2-40B4-BE49-F238E27FC236}">
                <a16:creationId xmlns:a16="http://schemas.microsoft.com/office/drawing/2014/main" id="{55D96B04-E234-4014-8FCC-6487952D453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r>
              <a:rPr lang="de-DE"/>
              <a:t>X. Monat 202X</a:t>
            </a:r>
            <a:endParaRPr lang="de-DE" dirty="0"/>
          </a:p>
        </p:txBody>
      </p:sp>
      <p:sp>
        <p:nvSpPr>
          <p:cNvPr id="16" name="Symbol zastępczy stopki 15">
            <a:extLst>
              <a:ext uri="{FF2B5EF4-FFF2-40B4-BE49-F238E27FC236}">
                <a16:creationId xmlns:a16="http://schemas.microsoft.com/office/drawing/2014/main" id="{BA63FE83-0C55-400A-9C1A-02449CD5555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dirty="0"/>
              <a:t>PowerPoint Master</a:t>
            </a:r>
          </a:p>
        </p:txBody>
      </p:sp>
      <p:sp>
        <p:nvSpPr>
          <p:cNvPr id="17" name="Symbol zastępczy numeru slajdu 16">
            <a:extLst>
              <a:ext uri="{FF2B5EF4-FFF2-40B4-BE49-F238E27FC236}">
                <a16:creationId xmlns:a16="http://schemas.microsoft.com/office/drawing/2014/main" id="{28D347F1-B51D-47EF-954D-19F05A85137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4124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grafische Bühn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15C34BC-9550-479A-8EB8-445796C514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4039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1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15C34BC-9550-479A-8EB8-445796C514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8"/>
            <a:ext cx="5472112" cy="44640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9" y="6165328"/>
            <a:ext cx="5472732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9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3" y="404696"/>
            <a:ext cx="5471468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4ECF5D8-597F-433C-8071-7F63B641BBB2}"/>
              </a:ext>
            </a:extLst>
          </p:cNvPr>
          <p:cNvSpPr/>
          <p:nvPr userDrawn="1"/>
        </p:nvSpPr>
        <p:spPr bwMode="gray">
          <a:xfrm>
            <a:off x="6311900" y="0"/>
            <a:ext cx="5880099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F4DD610-2368-4729-979C-69C66C382CB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0C5F920-6526-419F-93CD-71241C26F6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0ACDA27-4503-41E6-B4EF-5FA9C82CB23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9976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grafische Bühn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3D06834-44FF-4BAC-9D0E-C47BE59757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344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5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3D06834-44FF-4BAC-9D0E-C47BE59757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8" y="1557338"/>
            <a:ext cx="7488237" cy="44640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7488857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7488857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7487593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4ECF5D8-597F-433C-8071-7F63B641BBB2}"/>
              </a:ext>
            </a:extLst>
          </p:cNvPr>
          <p:cNvSpPr/>
          <p:nvPr userDrawn="1"/>
        </p:nvSpPr>
        <p:spPr bwMode="gray">
          <a:xfrm>
            <a:off x="8183562" y="0"/>
            <a:ext cx="4008437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ECEF76-3969-412F-86F3-1A1BE3534A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68D9AF4-BD8E-4650-A66A-81DB0156315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15" name="Foliennummernplatzhalter 4">
            <a:extLst>
              <a:ext uri="{FF2B5EF4-FFF2-40B4-BE49-F238E27FC236}">
                <a16:creationId xmlns:a16="http://schemas.microsoft.com/office/drawing/2014/main" id="{97DC8CB9-25A8-46A3-BD7C-0371E033FE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24013" y="6525368"/>
            <a:ext cx="360000" cy="21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9644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9889991-D7C3-47DC-A0E7-496256CBD9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4762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9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9889991-D7C3-47DC-A0E7-496256CBD9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773FAEC6-8B23-4327-9DFE-B48C2DF8AA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E8BE66F-899A-4EEE-8357-5D8804E5B6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019722D-98AB-4C04-B345-FEA8A37D754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78EDF34-D83F-47D7-90B2-2FBAB1018D7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8990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 userDrawn="1">
          <p15:clr>
            <a:srgbClr val="5ACBF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uzierte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11E6238-6B3F-42F9-B0C2-E51B74CFD7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4514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3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11E6238-6B3F-42F9-B0C2-E51B74CFD7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116632"/>
            <a:ext cx="11376000" cy="2883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tte nur nutzen, wenn große Kreuz- oder Kennzahlentabellen eingesetzt werden,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FF5A8C7-FE4D-4452-9E15-4B91B266A0E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E7A1D4A-1311-426B-A2A9-64E1F7FE37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6ED5A52-36B6-4A34-9598-8ADDB9923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71EB2444-B66C-4C40-A38B-0D92751C70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7" y="477000"/>
            <a:ext cx="11376025" cy="432000"/>
          </a:xfrm>
        </p:spPr>
        <p:txBody>
          <a:bodyPr/>
          <a:lstStyle>
            <a:lvl1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5pPr>
            <a:lvl6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6pPr>
            <a:lvl7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7pPr>
            <a:lvl8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8pPr>
            <a:lvl9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die in den anderen Layouts nicht ausreichend Platz hab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1868607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 userDrawn="1">
          <p15:clr>
            <a:srgbClr val="5ACBF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0"/>
            <a:ext cx="12191999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46962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ein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916A45A-EC1B-4CC7-A5E6-073835D9E6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677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7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916A45A-EC1B-4CC7-A5E6-073835D9E6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312024" y="0"/>
            <a:ext cx="5879975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5472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5472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8BDF05-DA9C-4140-BBCE-A540250E509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1713DA2-6385-4731-9857-4EA4ABB202D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22736997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iekt 5" hidden="1">
            <a:extLst>
              <a:ext uri="{FF2B5EF4-FFF2-40B4-BE49-F238E27FC236}">
                <a16:creationId xmlns:a16="http://schemas.microsoft.com/office/drawing/2014/main" id="{4A7B0D83-8E0C-4C18-A552-73CED6AF29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764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6" name="Obiekt 5" hidden="1">
                        <a:extLst>
                          <a:ext uri="{FF2B5EF4-FFF2-40B4-BE49-F238E27FC236}">
                            <a16:creationId xmlns:a16="http://schemas.microsoft.com/office/drawing/2014/main" id="{4A7B0D83-8E0C-4C18-A552-73CED6AF29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343472" y="1557339"/>
            <a:ext cx="8856000" cy="1655478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43472" y="3357152"/>
            <a:ext cx="8856000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50" name="Textplatzhalter 9">
            <a:extLst>
              <a:ext uri="{FF2B5EF4-FFF2-40B4-BE49-F238E27FC236}">
                <a16:creationId xmlns:a16="http://schemas.microsoft.com/office/drawing/2014/main" id="{3656EE1D-B61E-47A5-9B5C-F55BD7EAF9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5733296"/>
            <a:ext cx="6912018" cy="360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x.Monat.xxxx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9C95B53-682B-42C7-87E1-07187144646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1141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>
            <a:extLst>
              <a:ext uri="{FF2B5EF4-FFF2-40B4-BE49-F238E27FC236}">
                <a16:creationId xmlns:a16="http://schemas.microsoft.com/office/drawing/2014/main" id="{01794039-6EE9-42EA-AEBC-3793E6922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2098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1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8" name="Obiekt 7" hidden="1">
                        <a:extLst>
                          <a:ext uri="{FF2B5EF4-FFF2-40B4-BE49-F238E27FC236}">
                            <a16:creationId xmlns:a16="http://schemas.microsoft.com/office/drawing/2014/main" id="{01794039-6EE9-42EA-AEBC-3793E6922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312025" y="3429000"/>
            <a:ext cx="5879975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5472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5472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312024" y="1"/>
            <a:ext cx="5879975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29EE2EA-4DD7-4C2A-A348-6510E8D3B8A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2FBC02-8D0A-4411-A701-FB3C646EF58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3816982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drei Bilder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>
            <a:extLst>
              <a:ext uri="{FF2B5EF4-FFF2-40B4-BE49-F238E27FC236}">
                <a16:creationId xmlns:a16="http://schemas.microsoft.com/office/drawing/2014/main" id="{F5914911-BEE2-4A92-94B8-B86F36789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6272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5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8" name="Obiekt 7" hidden="1">
                        <a:extLst>
                          <a:ext uri="{FF2B5EF4-FFF2-40B4-BE49-F238E27FC236}">
                            <a16:creationId xmlns:a16="http://schemas.microsoft.com/office/drawing/2014/main" id="{F5914911-BEE2-4A92-94B8-B86F36789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312025" y="3429000"/>
            <a:ext cx="5879975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5472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5472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312024" y="1"/>
            <a:ext cx="3097089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9FB83DFD-5A5B-4FEC-89F4-CBBAD40D217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9409113" y="0"/>
            <a:ext cx="2782887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F206B50-4E0B-490D-B448-6C8D3775A3C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3C64CF2-1E17-4044-91EC-BB51A7581D48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2933468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drei Bilder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720CC2A-69E5-4868-B716-9775A7ECA1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567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9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720CC2A-69E5-4868-B716-9775A7ECA1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1DBD824E-7BD9-42EB-A741-717B9ED9C6A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8183563" y="4590000"/>
            <a:ext cx="4008437" cy="2268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7488236" cy="1296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7" y="6165328"/>
            <a:ext cx="7488857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7" y="740776"/>
            <a:ext cx="7488857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1" y="404696"/>
            <a:ext cx="7487593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8183563" y="0"/>
            <a:ext cx="4008437" cy="2268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8183563" y="2268000"/>
            <a:ext cx="4008437" cy="2322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0C8C35B0-D28C-470A-9370-CD75020BFE3D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 bwMode="gray">
          <a:xfrm>
            <a:off x="407989" y="3140968"/>
            <a:ext cx="7488236" cy="1296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34C99758-AEB9-4B74-A583-4F20E16B1F20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 bwMode="gray">
          <a:xfrm>
            <a:off x="407989" y="4725144"/>
            <a:ext cx="7488000" cy="1296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0B50ECE-B0BA-455D-8F30-CE845B849E88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DB6783-981C-4B47-9092-89F09DE80A8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4198944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60E7720-E200-4DB9-AB42-74BC7931B8F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4296421" y="4077072"/>
            <a:ext cx="3599779" cy="19436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8D1CB9BA-DB08-442B-BB4B-78414B60D076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8184232" y="4077072"/>
            <a:ext cx="3599779" cy="19436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4077072"/>
            <a:ext cx="3599779" cy="19436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7" y="6165328"/>
            <a:ext cx="11376645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7" y="740776"/>
            <a:ext cx="11376645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1557040"/>
            <a:ext cx="4187788" cy="230400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AF7A689D-901E-4B0D-900B-83F0EE07FBD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4187785" y="1557040"/>
            <a:ext cx="3816431" cy="230400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AE73C007-3BC4-4F4D-B146-DBF572331A7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8004216" y="1557040"/>
            <a:ext cx="4187784" cy="230400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38B435-437A-4B44-849D-F23018BA51F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82B779B-7CC9-436F-94F9-869E854FB96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ACDD30F-F971-47F1-8BD7-CA36DF36C46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7252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  <p15:guide id="3" orient="horz" pos="243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9C4CD7F-32FC-4BB4-BA7E-179B0107D6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8696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3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9C4CD7F-32FC-4BB4-BA7E-179B0107D6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8AAAFE53-B217-4863-83D4-FC060BAB860C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 bwMode="gray">
          <a:xfrm>
            <a:off x="9264632" y="3573564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eingeben; eingerichtete Textebenen wechseln mit den Buttons „Listenebene erhöhen/verringern</a:t>
            </a:r>
            <a:r>
              <a:rPr lang="de-DE"/>
              <a:t>“ </a:t>
            </a:r>
            <a:br>
              <a:rPr lang="de-DE"/>
            </a:br>
            <a:r>
              <a:rPr lang="de-DE"/>
              <a:t>im </a:t>
            </a:r>
            <a:r>
              <a:rPr lang="de-DE" dirty="0"/>
              <a:t>Register „Start“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60E7720-E200-4DB9-AB42-74BC7931B8F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3359696" y="3573016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eingeben; eingerichtete Textebenen wechseln mit den Buttons „Listenebene erhöhen/verringern“ </a:t>
            </a:r>
            <a:br>
              <a:rPr lang="de-DE" dirty="0"/>
            </a:br>
            <a:r>
              <a:rPr lang="de-DE" dirty="0"/>
              <a:t>im Register „Start“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8D1CB9BA-DB08-442B-BB4B-78414B60D076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6312024" y="3573016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eingeben; eingerichtete Textebenen wechseln mit den Buttons „Listenebene erhöhen/</a:t>
            </a:r>
            <a:r>
              <a:rPr lang="de-DE"/>
              <a:t>verringern“</a:t>
            </a:r>
            <a:br>
              <a:rPr lang="de-DE"/>
            </a:br>
            <a:r>
              <a:rPr lang="de-DE"/>
              <a:t>im </a:t>
            </a:r>
            <a:r>
              <a:rPr lang="de-DE" dirty="0"/>
              <a:t>Register „Start“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3573016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eingeben; eingerichtete Textebenen wechseln mit den Buttons „Listenebene erhöhen/verringern“ </a:t>
            </a:r>
            <a:br>
              <a:rPr lang="de-DE" dirty="0"/>
            </a:br>
            <a:r>
              <a:rPr lang="de-DE" dirty="0"/>
              <a:t>im Register „Start“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7" y="740776"/>
            <a:ext cx="11376645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1556792"/>
            <a:ext cx="3059995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AF7A689D-901E-4B0D-900B-83F0EE07FBD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59995" y="1556792"/>
            <a:ext cx="3044002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AE73C007-3BC4-4F4D-B146-DBF572331A7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6103997" y="1556792"/>
            <a:ext cx="3044001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C14F9E91-B48F-4001-B73E-2BE94299F49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 bwMode="gray">
          <a:xfrm>
            <a:off x="9147998" y="1556792"/>
            <a:ext cx="3044001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F6E8532-3785-4A2D-875E-90B06880E69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B39C52-5892-44D3-B0AB-C42E46ED39F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D1A2243-D184-476A-B301-7C726E44189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8902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  <p15:guide id="3" orient="horz" pos="2115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1FAAE8-D7A5-42BB-B27C-AE3FEDB2B0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612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07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1FAAE8-D7A5-42BB-B27C-AE3FEDB2B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>
              <a:lnSpc>
                <a:spcPct val="120000"/>
              </a:lnSpc>
            </a:pPr>
            <a:endParaRPr lang="de-DE" sz="2489" dirty="0"/>
          </a:p>
        </p:txBody>
      </p:sp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843BD60-3C21-4DFB-9315-8E1B14158B5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800" b="1" i="0" baseline="0" dirty="0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368" y="489372"/>
            <a:ext cx="8856000" cy="1224136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Vielen Dank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DD2EEC3-FC57-45CE-AE1E-E4B35AFF42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72328" y="2852936"/>
            <a:ext cx="4176000" cy="2736304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368" y="2852936"/>
            <a:ext cx="4176000" cy="2736304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676B4420-30A9-462A-8B6C-EBBDFAED7B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30437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Tel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FE0E7FF9-D812-4D7F-8F85-17DEDFD8AB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941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Tel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63625631-77D4-4415-8C98-9A89D4FE65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5904503"/>
            <a:ext cx="252000" cy="252000"/>
          </a:xfrm>
          <a:blipFill>
            <a:blip r:embed="rId7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278A99C9-A31A-481D-B782-83F10A2E4D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72328" y="5904503"/>
            <a:ext cx="252000" cy="252000"/>
          </a:xfrm>
          <a:blipFill>
            <a:blip r:embed="rId7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/>
              <a:t> 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3CEB30A4-05EE-4442-B513-54D1C0A043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368" y="6213031"/>
            <a:ext cx="252000" cy="252000"/>
          </a:xfrm>
          <a:blipFill dpi="0" rotWithShape="1">
            <a:blip r:embed="rId8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D711923E-2A99-4720-8987-F4B56C5731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72328" y="6213031"/>
            <a:ext cx="252000" cy="252000"/>
          </a:xfrm>
          <a:blipFill dpi="0" rotWithShape="1">
            <a:blip r:embed="rId8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68ACC2CD-6F0E-4062-8645-C9CC0349098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1B00AA7-4947-4D86-9AB4-F87CC9DEEA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0437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E-Mail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741B0BE8-B4D6-42BB-A617-E1D546C16C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941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933929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1FAAE8-D7A5-42BB-B27C-AE3FEDB2B0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7490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2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1FAAE8-D7A5-42BB-B27C-AE3FEDB2B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843BD60-3C21-4DFB-9315-8E1B14158B5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800" b="1" i="0" baseline="0" dirty="0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368" y="489372"/>
            <a:ext cx="8856000" cy="1224136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dirty="0"/>
              <a:t>Vielen Dank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DD2EEC3-FC57-45CE-AE1E-E4B35AFF42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72328" y="2852936"/>
            <a:ext cx="4176000" cy="2736304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368" y="2852936"/>
            <a:ext cx="4176000" cy="2736304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676B4420-30A9-462A-8B6C-EBBDFAED7B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30437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Tel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FE0E7FF9-D812-4D7F-8F85-17DEDFD8AB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941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Tel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63625631-77D4-4415-8C98-9A89D4FE65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5904503"/>
            <a:ext cx="252000" cy="252000"/>
          </a:xfrm>
          <a:blipFill>
            <a:blip r:embed="rId7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278A99C9-A31A-481D-B782-83F10A2E4D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72328" y="5904503"/>
            <a:ext cx="252000" cy="252000"/>
          </a:xfrm>
          <a:blipFill>
            <a:blip r:embed="rId7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3CEB30A4-05EE-4442-B513-54D1C0A043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368" y="6213031"/>
            <a:ext cx="252000" cy="252000"/>
          </a:xfrm>
          <a:blipFill dpi="0" rotWithShape="1">
            <a:blip r:embed="rId8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D711923E-2A99-4720-8987-F4B56C5731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72328" y="6213031"/>
            <a:ext cx="252000" cy="252000"/>
          </a:xfrm>
          <a:blipFill dpi="0" rotWithShape="1">
            <a:blip r:embed="rId8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68ACC2CD-6F0E-4062-8645-C9CC0349098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1B00AA7-4947-4D86-9AB4-F87CC9DEEA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0437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E-Mail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741B0BE8-B4D6-42BB-A617-E1D546C16C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941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33208796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 27">
            <a:extLst>
              <a:ext uri="{FF2B5EF4-FFF2-40B4-BE49-F238E27FC236}">
                <a16:creationId xmlns:a16="http://schemas.microsoft.com/office/drawing/2014/main" id="{CBEC2E3F-C1EA-43E3-80B7-F0D44312486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A1017C2-DBB3-4119-99A7-970AB05DF8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2000" y="2205004"/>
            <a:ext cx="2452935" cy="24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875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3793" userDrawn="1">
          <p15:clr>
            <a:srgbClr val="5ACBF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B89EB33F-AD6E-4F8D-AC4C-EAB59AC700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2000" y="2205004"/>
            <a:ext cx="2452935" cy="24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178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3793" userDrawn="1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einspalti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31372" y="548680"/>
            <a:ext cx="5281513" cy="480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Folientitel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sk-SK"/>
              <a:t>26.06.2018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Lidl PowerPoint-Príručk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8FF9B0DE-3FEB-4AA0-B465-B80EF7C1333D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199457" y="1700808"/>
            <a:ext cx="4513428" cy="576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67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9pPr>
          </a:lstStyle>
          <a:p>
            <a:pPr lvl="0"/>
            <a:r>
              <a:rPr lang="de-DE" dirty="0"/>
              <a:t>Kapitelname | Über „Listenebene erhöhen“ wechseln Sie in die </a:t>
            </a:r>
            <a:r>
              <a:rPr lang="de-DE" dirty="0" err="1"/>
              <a:t>ungefettete</a:t>
            </a:r>
            <a:r>
              <a:rPr lang="de-DE" dirty="0"/>
              <a:t> Ebene.</a:t>
            </a:r>
          </a:p>
        </p:txBody>
      </p:sp>
      <p:sp>
        <p:nvSpPr>
          <p:cNvPr id="8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372" y="260648"/>
            <a:ext cx="5281513" cy="288000"/>
          </a:xfrm>
        </p:spPr>
        <p:txBody>
          <a:bodyPr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31371" y="1700872"/>
            <a:ext cx="576000" cy="576000"/>
          </a:xfrm>
          <a:prstGeom prst="ellipse">
            <a:avLst/>
          </a:prstGeom>
          <a:gradFill flip="none" rotWithShape="1">
            <a:gsLst>
              <a:gs pos="0">
                <a:srgbClr val="054066"/>
              </a:gs>
              <a:gs pos="40000">
                <a:srgbClr val="06507F"/>
              </a:gs>
              <a:gs pos="100000">
                <a:srgbClr val="0076BF"/>
              </a:gs>
            </a:gsLst>
            <a:lin ang="8100000" scaled="0"/>
            <a:tileRect/>
          </a:gra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XX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199457" y="2564904"/>
            <a:ext cx="4513428" cy="576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67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9pPr>
          </a:lstStyle>
          <a:p>
            <a:pPr lvl="0"/>
            <a:r>
              <a:rPr lang="de-DE" dirty="0"/>
              <a:t>Kapitelname | Über „Listenebene erhöhen“ wechseln Sie in die </a:t>
            </a:r>
            <a:r>
              <a:rPr lang="de-DE" dirty="0" err="1"/>
              <a:t>ungefettete</a:t>
            </a:r>
            <a:r>
              <a:rPr lang="de-DE" dirty="0"/>
              <a:t> Ebene.</a:t>
            </a: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31371" y="2564968"/>
            <a:ext cx="576000" cy="576000"/>
          </a:xfrm>
          <a:prstGeom prst="ellipse">
            <a:avLst/>
          </a:prstGeom>
          <a:gradFill flip="none" rotWithShape="1">
            <a:gsLst>
              <a:gs pos="0">
                <a:srgbClr val="054066"/>
              </a:gs>
              <a:gs pos="40000">
                <a:srgbClr val="06507F"/>
              </a:gs>
              <a:gs pos="100000">
                <a:srgbClr val="0076BF"/>
              </a:gs>
            </a:gsLst>
            <a:lin ang="8100000" scaled="0"/>
            <a:tileRect/>
          </a:gra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XX</a:t>
            </a:r>
          </a:p>
        </p:txBody>
      </p:sp>
      <p:sp>
        <p:nvSpPr>
          <p:cNvPr id="14" name="Textplatzhalter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199457" y="3429000"/>
            <a:ext cx="4513428" cy="576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67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9pPr>
          </a:lstStyle>
          <a:p>
            <a:pPr lvl="0"/>
            <a:r>
              <a:rPr lang="de-DE" dirty="0"/>
              <a:t>Kapitelname | Über „Listenebene erhöhen“ wechseln Sie in die </a:t>
            </a:r>
            <a:r>
              <a:rPr lang="de-DE" dirty="0" err="1"/>
              <a:t>ungefettete</a:t>
            </a:r>
            <a:r>
              <a:rPr lang="de-DE" dirty="0"/>
              <a:t> Ebene.</a:t>
            </a:r>
          </a:p>
        </p:txBody>
      </p:sp>
      <p:sp>
        <p:nvSpPr>
          <p:cNvPr id="15" name="Textplatzhalter 9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31371" y="3429064"/>
            <a:ext cx="576000" cy="576000"/>
          </a:xfrm>
          <a:prstGeom prst="ellipse">
            <a:avLst/>
          </a:prstGeom>
          <a:gradFill flip="none" rotWithShape="1">
            <a:gsLst>
              <a:gs pos="0">
                <a:srgbClr val="054066"/>
              </a:gs>
              <a:gs pos="40000">
                <a:srgbClr val="06507F"/>
              </a:gs>
              <a:gs pos="100000">
                <a:srgbClr val="0076BF"/>
              </a:gs>
            </a:gsLst>
            <a:lin ang="8100000" scaled="0"/>
            <a:tileRect/>
          </a:gra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XX</a:t>
            </a:r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199457" y="4293096"/>
            <a:ext cx="4513428" cy="576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67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9pPr>
          </a:lstStyle>
          <a:p>
            <a:pPr lvl="0"/>
            <a:r>
              <a:rPr lang="de-DE" dirty="0"/>
              <a:t>Kapitelname | Über „Listenebene erhöhen“ wechseln Sie in die </a:t>
            </a:r>
            <a:r>
              <a:rPr lang="de-DE" dirty="0" err="1"/>
              <a:t>ungefettete</a:t>
            </a:r>
            <a:r>
              <a:rPr lang="de-DE" dirty="0"/>
              <a:t> Ebene.</a:t>
            </a:r>
          </a:p>
        </p:txBody>
      </p:sp>
      <p:sp>
        <p:nvSpPr>
          <p:cNvPr id="17" name="Textplatzhalter 9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31371" y="4293160"/>
            <a:ext cx="576000" cy="576000"/>
          </a:xfrm>
          <a:prstGeom prst="ellipse">
            <a:avLst/>
          </a:prstGeom>
          <a:gradFill flip="none" rotWithShape="1">
            <a:gsLst>
              <a:gs pos="0">
                <a:srgbClr val="054066"/>
              </a:gs>
              <a:gs pos="40000">
                <a:srgbClr val="06507F"/>
              </a:gs>
              <a:gs pos="100000">
                <a:srgbClr val="0076BF"/>
              </a:gs>
            </a:gsLst>
            <a:lin ang="8100000" scaled="0"/>
            <a:tileRect/>
          </a:gra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XX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200630" y="5157192"/>
            <a:ext cx="4513428" cy="576000"/>
          </a:xfr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67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67">
                <a:latin typeface="+mn-lt"/>
              </a:defRPr>
            </a:lvl9pPr>
          </a:lstStyle>
          <a:p>
            <a:pPr lvl="0"/>
            <a:r>
              <a:rPr lang="de-DE" dirty="0"/>
              <a:t>Kapitelname | Über „Listenebene erhöhen“ wechseln Sie in die </a:t>
            </a:r>
            <a:r>
              <a:rPr lang="de-DE" dirty="0" err="1"/>
              <a:t>ungefettete</a:t>
            </a:r>
            <a:r>
              <a:rPr lang="de-DE" dirty="0"/>
              <a:t> Ebene.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31371" y="5157256"/>
            <a:ext cx="576000" cy="576000"/>
          </a:xfrm>
          <a:prstGeom prst="ellipse">
            <a:avLst/>
          </a:prstGeom>
          <a:gradFill flip="none" rotWithShape="1">
            <a:gsLst>
              <a:gs pos="0">
                <a:srgbClr val="054066"/>
              </a:gs>
              <a:gs pos="40000">
                <a:srgbClr val="06507F"/>
              </a:gs>
              <a:gs pos="100000">
                <a:srgbClr val="0076BF"/>
              </a:gs>
            </a:gsLst>
            <a:lin ang="8100000" scaled="0"/>
            <a:tileRect/>
          </a:gra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XX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096002" y="0"/>
            <a:ext cx="6095999" cy="6858000"/>
          </a:xfrm>
          <a:gradFill>
            <a:gsLst>
              <a:gs pos="0">
                <a:srgbClr val="054066"/>
              </a:gs>
              <a:gs pos="40000">
                <a:srgbClr val="06507F"/>
              </a:gs>
              <a:gs pos="100000">
                <a:srgbClr val="0076BF"/>
              </a:gs>
            </a:gsLst>
            <a:lin ang="8100000" scaled="1"/>
          </a:gradFill>
        </p:spPr>
        <p:txBody>
          <a:bodyPr bIns="648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Bild durch Klick </a:t>
            </a:r>
            <a:br>
              <a:rPr lang="de-DE" dirty="0"/>
            </a:br>
            <a:r>
              <a:rPr lang="de-DE" dirty="0"/>
              <a:t>auf das Icon einfügen.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1515655" y="6202109"/>
            <a:ext cx="480000" cy="480000"/>
          </a:xfrm>
          <a:blipFill>
            <a:blip r:embed="rId2"/>
            <a:stretch>
              <a:fillRect/>
            </a:stretch>
          </a:blipFill>
          <a:effectLst>
            <a:outerShdw blurRad="50800" dist="25400" dir="2700000" sx="95000" sy="95000" algn="ctr" rotWithShape="0">
              <a:srgbClr val="000000">
                <a:alpha val="35000"/>
              </a:srgbClr>
            </a:outerShdw>
          </a:effectLst>
        </p:spPr>
        <p:txBody>
          <a:bodyPr/>
          <a:lstStyle>
            <a:lvl1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3" b="0">
                <a:solidFill>
                  <a:schemeClr val="bg1"/>
                </a:solidFill>
              </a:defRPr>
            </a:lvl1pPr>
            <a:lvl2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33" b="0">
                <a:solidFill>
                  <a:schemeClr val="bg1"/>
                </a:solidFill>
              </a:defRPr>
            </a:lvl2pPr>
            <a:lvl3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33" b="0">
                <a:solidFill>
                  <a:schemeClr val="bg1"/>
                </a:solidFill>
              </a:defRPr>
            </a:lvl3pPr>
            <a:lvl4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33" b="0">
                <a:solidFill>
                  <a:schemeClr val="bg1"/>
                </a:solidFill>
              </a:defRPr>
            </a:lvl4pPr>
            <a:lvl5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33" b="0">
                <a:solidFill>
                  <a:schemeClr val="bg1"/>
                </a:solidFill>
              </a:defRPr>
            </a:lvl5pPr>
            <a:lvl6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33" b="0">
                <a:solidFill>
                  <a:schemeClr val="bg1"/>
                </a:solidFill>
              </a:defRPr>
            </a:lvl6pPr>
            <a:lvl7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33" b="0">
                <a:solidFill>
                  <a:schemeClr val="bg1"/>
                </a:solidFill>
              </a:defRPr>
            </a:lvl7pPr>
            <a:lvl8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33" b="0">
                <a:solidFill>
                  <a:schemeClr val="bg1"/>
                </a:solidFill>
              </a:defRPr>
            </a:lvl8pPr>
            <a:lvl9pPr marL="0" indent="0">
              <a:lnSpc>
                <a:spcPct val="50000"/>
              </a:lnSpc>
              <a:spcBef>
                <a:spcPts val="0"/>
              </a:spcBef>
              <a:spcAft>
                <a:spcPts val="0"/>
              </a:spcAft>
              <a:buNone/>
              <a:defRPr sz="133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49100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orient="horz" pos="758">
          <p15:clr>
            <a:srgbClr val="547EBF"/>
          </p15:clr>
        </p15:guide>
        <p15:guide id="10" orient="horz" pos="2845">
          <p15:clr>
            <a:srgbClr val="547EBF"/>
          </p15:clr>
        </p15:guide>
        <p15:guide id="11" pos="2699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3356992"/>
            <a:ext cx="12192000" cy="3501008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343472" y="4077072"/>
            <a:ext cx="8856000" cy="576000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43472" y="4725160"/>
            <a:ext cx="8856000" cy="72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5733296"/>
            <a:ext cx="6912018" cy="360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x.Monat.xxxx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B0476DF1-9CDC-44D7-8634-DE84BA8EDCB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1"/>
            <a:ext cx="12192000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30545FE-C70C-41B3-8699-36419E1D18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288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343472" y="1557339"/>
            <a:ext cx="8856000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43472" y="3357152"/>
            <a:ext cx="8856000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50" name="Textplatzhalter 9">
            <a:extLst>
              <a:ext uri="{FF2B5EF4-FFF2-40B4-BE49-F238E27FC236}">
                <a16:creationId xmlns:a16="http://schemas.microsoft.com/office/drawing/2014/main" id="{3656EE1D-B61E-47A5-9B5C-F55BD7EAF9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5733296"/>
            <a:ext cx="6912018" cy="360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x.Monat.xxxx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CC72B5D-EB52-4429-B211-425945C57B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3247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iekt 5" hidden="1">
            <a:extLst>
              <a:ext uri="{FF2B5EF4-FFF2-40B4-BE49-F238E27FC236}">
                <a16:creationId xmlns:a16="http://schemas.microsoft.com/office/drawing/2014/main" id="{4A7B0D83-8E0C-4C18-A552-73CED6AF29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6276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14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6" name="Obiekt 5" hidden="1">
                        <a:extLst>
                          <a:ext uri="{FF2B5EF4-FFF2-40B4-BE49-F238E27FC236}">
                            <a16:creationId xmlns:a16="http://schemas.microsoft.com/office/drawing/2014/main" id="{4A7B0D83-8E0C-4C18-A552-73CED6AF29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343472" y="1557339"/>
            <a:ext cx="8856000" cy="1655478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43472" y="3357152"/>
            <a:ext cx="8856000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50" name="Textplatzhalter 9">
            <a:extLst>
              <a:ext uri="{FF2B5EF4-FFF2-40B4-BE49-F238E27FC236}">
                <a16:creationId xmlns:a16="http://schemas.microsoft.com/office/drawing/2014/main" id="{3656EE1D-B61E-47A5-9B5C-F55BD7EAF9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5733296"/>
            <a:ext cx="6912018" cy="360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x.Monat.xxxx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9C95B53-682B-42C7-87E1-07187144646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2899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3356992"/>
            <a:ext cx="12192000" cy="3501008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343472" y="4077072"/>
            <a:ext cx="8856000" cy="576000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43472" y="4725160"/>
            <a:ext cx="8856000" cy="72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5733296"/>
            <a:ext cx="6912018" cy="360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x.Monat.xxxx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B0476DF1-9CDC-44D7-8634-DE84BA8EDCB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1"/>
            <a:ext cx="12192000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30545FE-C70C-41B3-8699-36419E1D18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4535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iekt 5" hidden="1">
            <a:extLst>
              <a:ext uri="{FF2B5EF4-FFF2-40B4-BE49-F238E27FC236}">
                <a16:creationId xmlns:a16="http://schemas.microsoft.com/office/drawing/2014/main" id="{0D220DD7-7D89-4F54-9A78-122077A9C1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9162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38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6" name="Obiekt 5" hidden="1">
                        <a:extLst>
                          <a:ext uri="{FF2B5EF4-FFF2-40B4-BE49-F238E27FC236}">
                            <a16:creationId xmlns:a16="http://schemas.microsoft.com/office/drawing/2014/main" id="{0D220DD7-7D89-4F54-9A78-122077A9C1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343472" y="4077072"/>
            <a:ext cx="8856000" cy="576000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43472" y="4725160"/>
            <a:ext cx="8856000" cy="72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5733296"/>
            <a:ext cx="6912018" cy="360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x.Monat.xxxx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B0476DF1-9CDC-44D7-8634-DE84BA8EDCB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1"/>
            <a:ext cx="12192000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D891D26-46ED-4182-9EED-C6651B17C92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70545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28E39D0B-1C52-4219-A4C5-3BA3C06246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52078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5" name="Symbol zastępczy tekstu 2">
            <a:extLst>
              <a:ext uri="{FF2B5EF4-FFF2-40B4-BE49-F238E27FC236}">
                <a16:creationId xmlns:a16="http://schemas.microsoft.com/office/drawing/2014/main" id="{C66FBA54-DA02-4D9A-A991-C7CA2B37F8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6723" y="2312940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6" name="Symbol zastępczy tekstu 2">
            <a:extLst>
              <a:ext uri="{FF2B5EF4-FFF2-40B4-BE49-F238E27FC236}">
                <a16:creationId xmlns:a16="http://schemas.microsoft.com/office/drawing/2014/main" id="{3F338573-B2E3-4920-9CC7-DE173BAE7F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7368" y="310502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7" name="Symbol zastępczy tekstu 2">
            <a:extLst>
              <a:ext uri="{FF2B5EF4-FFF2-40B4-BE49-F238E27FC236}">
                <a16:creationId xmlns:a16="http://schemas.microsoft.com/office/drawing/2014/main" id="{024A7887-1F28-4B02-A601-318D1D0FBC6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7368" y="3897116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2603ECC3-DCAB-40EC-90CE-A360637028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7368" y="4689204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9" name="Symbol zastępczy tekstu 2">
            <a:extLst>
              <a:ext uri="{FF2B5EF4-FFF2-40B4-BE49-F238E27FC236}">
                <a16:creationId xmlns:a16="http://schemas.microsoft.com/office/drawing/2014/main" id="{9CA4ED02-E7A4-4F72-9352-D95AB1314A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7368" y="54812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20" name="Symbol zastępczy tekstu 2">
            <a:extLst>
              <a:ext uri="{FF2B5EF4-FFF2-40B4-BE49-F238E27FC236}">
                <a16:creationId xmlns:a16="http://schemas.microsoft.com/office/drawing/2014/main" id="{30E3E7CD-8D3B-4518-82EB-DBA4D20F41C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6085" y="1520788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1" name="Symbol zastępczy tekstu 2">
            <a:extLst>
              <a:ext uri="{FF2B5EF4-FFF2-40B4-BE49-F238E27FC236}">
                <a16:creationId xmlns:a16="http://schemas.microsoft.com/office/drawing/2014/main" id="{BB058CB8-845E-4715-901A-A96D17FAC8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5440" y="2312940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2" name="Symbol zastępczy tekstu 2">
            <a:extLst>
              <a:ext uri="{FF2B5EF4-FFF2-40B4-BE49-F238E27FC236}">
                <a16:creationId xmlns:a16="http://schemas.microsoft.com/office/drawing/2014/main" id="{31E05F14-8EB7-42D4-8828-79EF4F8C8A6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56085" y="3105028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3" name="Symbol zastępczy tekstu 2">
            <a:extLst>
              <a:ext uri="{FF2B5EF4-FFF2-40B4-BE49-F238E27FC236}">
                <a16:creationId xmlns:a16="http://schemas.microsoft.com/office/drawing/2014/main" id="{31AE3CDC-9DCC-4936-8F1B-6CC168383A2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56085" y="3897116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4" name="Symbol zastępczy tekstu 2">
            <a:extLst>
              <a:ext uri="{FF2B5EF4-FFF2-40B4-BE49-F238E27FC236}">
                <a16:creationId xmlns:a16="http://schemas.microsoft.com/office/drawing/2014/main" id="{61F9105D-D12A-4295-81A9-CF18E5F6909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56085" y="4689204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5" name="Symbol zastępczy tekstu 2">
            <a:extLst>
              <a:ext uri="{FF2B5EF4-FFF2-40B4-BE49-F238E27FC236}">
                <a16:creationId xmlns:a16="http://schemas.microsoft.com/office/drawing/2014/main" id="{99FA460E-8F7C-4F14-9897-889DCBFB8FA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56085" y="5481228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11656CC-B740-40B2-BF86-0F1C567F7B28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3D280A6-24DF-40A4-8E35-928172BDC4E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62EBAF2-0ED0-4401-98FE-0538FEC8A3F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8571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Symbol zastępczy daty 7">
            <a:extLst>
              <a:ext uri="{FF2B5EF4-FFF2-40B4-BE49-F238E27FC236}">
                <a16:creationId xmlns:a16="http://schemas.microsoft.com/office/drawing/2014/main" id="{C204B1AB-3245-49E5-A127-014AEAC61F6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r>
              <a:rPr lang="de-DE"/>
              <a:t>X. Monat 202X</a:t>
            </a:r>
            <a:endParaRPr lang="de-DE" dirty="0"/>
          </a:p>
        </p:txBody>
      </p:sp>
      <p:sp>
        <p:nvSpPr>
          <p:cNvPr id="9" name="Symbol zastępczy stopki 8">
            <a:extLst>
              <a:ext uri="{FF2B5EF4-FFF2-40B4-BE49-F238E27FC236}">
                <a16:creationId xmlns:a16="http://schemas.microsoft.com/office/drawing/2014/main" id="{E9945776-74E6-4B6A-8220-094828B4ED3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owerPoint Master</a:t>
            </a:r>
          </a:p>
        </p:txBody>
      </p:sp>
      <p:sp>
        <p:nvSpPr>
          <p:cNvPr id="11" name="Symbol zastępczy numeru slajdu 10">
            <a:extLst>
              <a:ext uri="{FF2B5EF4-FFF2-40B4-BE49-F238E27FC236}">
                <a16:creationId xmlns:a16="http://schemas.microsoft.com/office/drawing/2014/main" id="{1983C97C-1699-434E-88A0-1FE9DAC0309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Symbol zastępczy tekstu 2">
            <a:extLst>
              <a:ext uri="{FF2B5EF4-FFF2-40B4-BE49-F238E27FC236}">
                <a16:creationId xmlns:a16="http://schemas.microsoft.com/office/drawing/2014/main" id="{AF207A56-7104-41FC-A9EE-BC6FA7982A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52078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6" name="Symbol zastępczy tekstu 2">
            <a:extLst>
              <a:ext uri="{FF2B5EF4-FFF2-40B4-BE49-F238E27FC236}">
                <a16:creationId xmlns:a16="http://schemas.microsoft.com/office/drawing/2014/main" id="{09A1A87F-801A-4454-959B-3707F803F8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6723" y="2313004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7" name="Symbol zastępczy tekstu 2">
            <a:extLst>
              <a:ext uri="{FF2B5EF4-FFF2-40B4-BE49-F238E27FC236}">
                <a16:creationId xmlns:a16="http://schemas.microsoft.com/office/drawing/2014/main" id="{C370DAE5-371F-4850-A35E-1F834D69F6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7368" y="31050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331AE295-E638-40D5-A256-CF1A02346BC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7368" y="3897180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9" name="Symbol zastępczy tekstu 2">
            <a:extLst>
              <a:ext uri="{FF2B5EF4-FFF2-40B4-BE49-F238E27FC236}">
                <a16:creationId xmlns:a16="http://schemas.microsoft.com/office/drawing/2014/main" id="{D4BB144A-BF9E-4B42-B5CE-5416E26B946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7368" y="468926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20" name="Symbol zastępczy tekstu 2">
            <a:extLst>
              <a:ext uri="{FF2B5EF4-FFF2-40B4-BE49-F238E27FC236}">
                <a16:creationId xmlns:a16="http://schemas.microsoft.com/office/drawing/2014/main" id="{FDCCE525-69AD-4E9C-8CE2-1BE3538DAA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7368" y="54812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21" name="Symbol zastępczy tekstu 2">
            <a:extLst>
              <a:ext uri="{FF2B5EF4-FFF2-40B4-BE49-F238E27FC236}">
                <a16:creationId xmlns:a16="http://schemas.microsoft.com/office/drawing/2014/main" id="{95951527-722B-49E1-9B50-58ED925F62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6085" y="1520788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2" name="Symbol zastępczy tekstu 2">
            <a:extLst>
              <a:ext uri="{FF2B5EF4-FFF2-40B4-BE49-F238E27FC236}">
                <a16:creationId xmlns:a16="http://schemas.microsoft.com/office/drawing/2014/main" id="{E589AD80-9824-4E62-BBB5-0756918E4C3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5440" y="2313004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3" name="Symbol zastępczy tekstu 2">
            <a:extLst>
              <a:ext uri="{FF2B5EF4-FFF2-40B4-BE49-F238E27FC236}">
                <a16:creationId xmlns:a16="http://schemas.microsoft.com/office/drawing/2014/main" id="{601977FB-D13A-4BF7-9B5D-B79C019660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56085" y="3105092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4" name="Symbol zastępczy tekstu 2">
            <a:extLst>
              <a:ext uri="{FF2B5EF4-FFF2-40B4-BE49-F238E27FC236}">
                <a16:creationId xmlns:a16="http://schemas.microsoft.com/office/drawing/2014/main" id="{A9A5F647-F0FD-4E3B-A4C7-47FD4646815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56085" y="3897180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5" name="Symbol zastępczy tekstu 2">
            <a:extLst>
              <a:ext uri="{FF2B5EF4-FFF2-40B4-BE49-F238E27FC236}">
                <a16:creationId xmlns:a16="http://schemas.microsoft.com/office/drawing/2014/main" id="{AA4477D4-26DA-4944-A1CE-15782AB43E6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56085" y="4689268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6" name="Symbol zastępczy tekstu 2">
            <a:extLst>
              <a:ext uri="{FF2B5EF4-FFF2-40B4-BE49-F238E27FC236}">
                <a16:creationId xmlns:a16="http://schemas.microsoft.com/office/drawing/2014/main" id="{3517444B-543B-4C6C-9279-2ED7BF0993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56085" y="5481292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7" name="Symbol zastępczy tekstu 2">
            <a:extLst>
              <a:ext uri="{FF2B5EF4-FFF2-40B4-BE49-F238E27FC236}">
                <a16:creationId xmlns:a16="http://schemas.microsoft.com/office/drawing/2014/main" id="{CE039690-9ECE-4AB1-A3C0-66B4CA89BEF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11379" y="152078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28" name="Symbol zastępczy tekstu 2">
            <a:extLst>
              <a:ext uri="{FF2B5EF4-FFF2-40B4-BE49-F238E27FC236}">
                <a16:creationId xmlns:a16="http://schemas.microsoft.com/office/drawing/2014/main" id="{7270A56F-30AE-43F8-8D9C-773579ECA0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10734" y="2313004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29" name="Symbol zastępczy tekstu 2">
            <a:extLst>
              <a:ext uri="{FF2B5EF4-FFF2-40B4-BE49-F238E27FC236}">
                <a16:creationId xmlns:a16="http://schemas.microsoft.com/office/drawing/2014/main" id="{02322EE6-B48C-47E6-BC1B-6102065D985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11379" y="31050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30" name="Symbol zastępczy tekstu 2">
            <a:extLst>
              <a:ext uri="{FF2B5EF4-FFF2-40B4-BE49-F238E27FC236}">
                <a16:creationId xmlns:a16="http://schemas.microsoft.com/office/drawing/2014/main" id="{9D4557B8-A49A-458D-ADBF-B719FF9BC65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11379" y="3897180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31" name="Symbol zastępczy tekstu 2">
            <a:extLst>
              <a:ext uri="{FF2B5EF4-FFF2-40B4-BE49-F238E27FC236}">
                <a16:creationId xmlns:a16="http://schemas.microsoft.com/office/drawing/2014/main" id="{86BFF05E-ED67-4096-9E5D-A0C0C2F0037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11379" y="468926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32" name="Symbol zastępczy tekstu 2">
            <a:extLst>
              <a:ext uri="{FF2B5EF4-FFF2-40B4-BE49-F238E27FC236}">
                <a16:creationId xmlns:a16="http://schemas.microsoft.com/office/drawing/2014/main" id="{B1C15EC8-9485-400C-9B21-8C88ABDCE33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11379" y="54812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33" name="Symbol zastępczy tekstu 2">
            <a:extLst>
              <a:ext uri="{FF2B5EF4-FFF2-40B4-BE49-F238E27FC236}">
                <a16:creationId xmlns:a16="http://schemas.microsoft.com/office/drawing/2014/main" id="{A2307B4E-1493-4587-8B1D-095FEA8A046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960096" y="1520788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34" name="Symbol zastępczy tekstu 2">
            <a:extLst>
              <a:ext uri="{FF2B5EF4-FFF2-40B4-BE49-F238E27FC236}">
                <a16:creationId xmlns:a16="http://schemas.microsoft.com/office/drawing/2014/main" id="{45BE9BA3-27A7-4128-9276-465A4F0E902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959451" y="2313004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35" name="Symbol zastępczy tekstu 2">
            <a:extLst>
              <a:ext uri="{FF2B5EF4-FFF2-40B4-BE49-F238E27FC236}">
                <a16:creationId xmlns:a16="http://schemas.microsoft.com/office/drawing/2014/main" id="{4364BFBF-1F35-47D6-A344-E3CD2119FED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960096" y="3105092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36" name="Symbol zastępczy tekstu 2">
            <a:extLst>
              <a:ext uri="{FF2B5EF4-FFF2-40B4-BE49-F238E27FC236}">
                <a16:creationId xmlns:a16="http://schemas.microsoft.com/office/drawing/2014/main" id="{1E164401-E487-460D-B215-7E55E14CBA8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960096" y="3897180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37" name="Symbol zastępczy tekstu 2">
            <a:extLst>
              <a:ext uri="{FF2B5EF4-FFF2-40B4-BE49-F238E27FC236}">
                <a16:creationId xmlns:a16="http://schemas.microsoft.com/office/drawing/2014/main" id="{9502F8AC-B41D-40A4-91E3-D97092267B6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960096" y="4689268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38" name="Symbol zastępczy tekstu 2">
            <a:extLst>
              <a:ext uri="{FF2B5EF4-FFF2-40B4-BE49-F238E27FC236}">
                <a16:creationId xmlns:a16="http://schemas.microsoft.com/office/drawing/2014/main" id="{16921B21-93F0-4394-9762-9CFF3D75A7C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960096" y="5481292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351853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 sz="2489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7417370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7417370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</a:t>
            </a:r>
          </a:p>
          <a:p>
            <a:pPr lvl="6"/>
            <a:r>
              <a:rPr lang="de-DE" dirty="0"/>
              <a:t>Sieben</a:t>
            </a:r>
          </a:p>
          <a:p>
            <a:pPr lvl="7"/>
            <a:r>
              <a:rPr lang="de-DE" dirty="0"/>
              <a:t>Acht</a:t>
            </a:r>
          </a:p>
          <a:p>
            <a:pPr lvl="8"/>
            <a:r>
              <a:rPr lang="de-DE" dirty="0"/>
              <a:t>Neun</a:t>
            </a:r>
          </a:p>
        </p:txBody>
      </p:sp>
    </p:spTree>
    <p:extLst>
      <p:ext uri="{BB962C8B-B14F-4D97-AF65-F5344CB8AC3E}">
        <p14:creationId xmlns:p14="http://schemas.microsoft.com/office/powerpoint/2010/main" val="21452198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4" hidden="1">
            <a:extLst>
              <a:ext uri="{FF2B5EF4-FFF2-40B4-BE49-F238E27FC236}">
                <a16:creationId xmlns:a16="http://schemas.microsoft.com/office/drawing/2014/main" id="{A85DE8FC-85EB-49B6-98E6-059ECFBD18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2637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62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5" name="Obiekt 4" hidden="1">
                        <a:extLst>
                          <a:ext uri="{FF2B5EF4-FFF2-40B4-BE49-F238E27FC236}">
                            <a16:creationId xmlns:a16="http://schemas.microsoft.com/office/drawing/2014/main" id="{A85DE8FC-85EB-49B6-98E6-059ECFBD18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7417370" cy="1655478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7417370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</a:t>
            </a:r>
          </a:p>
          <a:p>
            <a:pPr lvl="6"/>
            <a:r>
              <a:rPr lang="de-DE" dirty="0"/>
              <a:t>Sieben</a:t>
            </a:r>
          </a:p>
          <a:p>
            <a:pPr lvl="7"/>
            <a:r>
              <a:rPr lang="de-DE" dirty="0"/>
              <a:t>Acht</a:t>
            </a:r>
          </a:p>
          <a:p>
            <a:pPr lvl="8"/>
            <a:r>
              <a:rPr lang="de-DE" dirty="0"/>
              <a:t>Neun</a:t>
            </a:r>
          </a:p>
        </p:txBody>
      </p:sp>
    </p:spTree>
    <p:extLst>
      <p:ext uri="{BB962C8B-B14F-4D97-AF65-F5344CB8AC3E}">
        <p14:creationId xmlns:p14="http://schemas.microsoft.com/office/powerpoint/2010/main" val="28609462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4537075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4537075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</a:t>
            </a:r>
          </a:p>
          <a:p>
            <a:pPr lvl="6"/>
            <a:r>
              <a:rPr lang="de-DE" dirty="0"/>
              <a:t>Sieben</a:t>
            </a:r>
          </a:p>
          <a:p>
            <a:pPr lvl="7"/>
            <a:r>
              <a:rPr lang="de-DE" dirty="0"/>
              <a:t>Acht</a:t>
            </a:r>
          </a:p>
          <a:p>
            <a:pPr lvl="8"/>
            <a:r>
              <a:rPr lang="de-DE" dirty="0"/>
              <a:t>Neu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8183562" y="0"/>
            <a:ext cx="4008437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6807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mit Bild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4" hidden="1">
            <a:extLst>
              <a:ext uri="{FF2B5EF4-FFF2-40B4-BE49-F238E27FC236}">
                <a16:creationId xmlns:a16="http://schemas.microsoft.com/office/drawing/2014/main" id="{F86DD87C-3A58-45E5-8112-44900FCBFC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3296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686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5" name="Obiekt 4" hidden="1">
                        <a:extLst>
                          <a:ext uri="{FF2B5EF4-FFF2-40B4-BE49-F238E27FC236}">
                            <a16:creationId xmlns:a16="http://schemas.microsoft.com/office/drawing/2014/main" id="{F86DD87C-3A58-45E5-8112-44900FCBFC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4537075" cy="1655478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4537075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</a:t>
            </a:r>
          </a:p>
          <a:p>
            <a:pPr lvl="6"/>
            <a:r>
              <a:rPr lang="de-DE" dirty="0"/>
              <a:t>Sieben</a:t>
            </a:r>
          </a:p>
          <a:p>
            <a:pPr lvl="7"/>
            <a:r>
              <a:rPr lang="de-DE" dirty="0"/>
              <a:t>Acht</a:t>
            </a:r>
          </a:p>
          <a:p>
            <a:pPr lvl="8"/>
            <a:r>
              <a:rPr lang="de-DE" dirty="0"/>
              <a:t>Neu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8183562" y="0"/>
            <a:ext cx="4008437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09648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iekt 5" hidden="1">
            <a:extLst>
              <a:ext uri="{FF2B5EF4-FFF2-40B4-BE49-F238E27FC236}">
                <a16:creationId xmlns:a16="http://schemas.microsoft.com/office/drawing/2014/main" id="{0D220DD7-7D89-4F54-9A78-122077A9C1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6648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7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6" name="Obiekt 5" hidden="1">
                        <a:extLst>
                          <a:ext uri="{FF2B5EF4-FFF2-40B4-BE49-F238E27FC236}">
                            <a16:creationId xmlns:a16="http://schemas.microsoft.com/office/drawing/2014/main" id="{0D220DD7-7D89-4F54-9A78-122077A9C1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343472" y="4077072"/>
            <a:ext cx="8856000" cy="576000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43472" y="4725160"/>
            <a:ext cx="8856000" cy="72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5733296"/>
            <a:ext cx="6912018" cy="360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x.Monat.xxxx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B0476DF1-9CDC-44D7-8634-DE84BA8EDCB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1"/>
            <a:ext cx="12192000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D891D26-46ED-4182-9EED-C6651B17C92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9535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11E6238-6B3F-42F9-B0C2-E51B74CFD7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1079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10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11E6238-6B3F-42F9-B0C2-E51B74CFD7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8" y="1557338"/>
            <a:ext cx="11376025" cy="44640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9" name="Symbol zastępczy daty 8">
            <a:extLst>
              <a:ext uri="{FF2B5EF4-FFF2-40B4-BE49-F238E27FC236}">
                <a16:creationId xmlns:a16="http://schemas.microsoft.com/office/drawing/2014/main" id="{7EC46B94-0D08-4CE0-B22F-D813B47C932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r>
              <a:rPr lang="de-DE"/>
              <a:t>X. Monat 202X</a:t>
            </a:r>
            <a:endParaRPr lang="de-DE" dirty="0"/>
          </a:p>
        </p:txBody>
      </p:sp>
      <p:sp>
        <p:nvSpPr>
          <p:cNvPr id="11" name="Symbol zastępczy stopki 10">
            <a:extLst>
              <a:ext uri="{FF2B5EF4-FFF2-40B4-BE49-F238E27FC236}">
                <a16:creationId xmlns:a16="http://schemas.microsoft.com/office/drawing/2014/main" id="{7E5D491C-8758-458C-A681-72200280927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owerPoint Master</a:t>
            </a:r>
          </a:p>
        </p:txBody>
      </p:sp>
      <p:sp>
        <p:nvSpPr>
          <p:cNvPr id="15" name="Symbol zastępczy numeru slajdu 14">
            <a:extLst>
              <a:ext uri="{FF2B5EF4-FFF2-40B4-BE49-F238E27FC236}">
                <a16:creationId xmlns:a16="http://schemas.microsoft.com/office/drawing/2014/main" id="{B2750AB2-2DA9-4CAA-8087-9BBAEB9922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2331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6C32A24-1D2F-41A7-87DA-EE021ABD9D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9197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34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6C32A24-1D2F-41A7-87DA-EE021ABD9D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EF87B94-0E4E-4D4D-90D2-45EA54A6DECB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6312632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Symbol zastępczy daty 10">
            <a:extLst>
              <a:ext uri="{FF2B5EF4-FFF2-40B4-BE49-F238E27FC236}">
                <a16:creationId xmlns:a16="http://schemas.microsoft.com/office/drawing/2014/main" id="{0C373CB0-8B8A-4362-B863-C95BECC62E2E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algn="r"/>
            <a:r>
              <a:rPr lang="de-DE"/>
              <a:t>X. Monat 202X</a:t>
            </a:r>
            <a:endParaRPr lang="de-DE" dirty="0"/>
          </a:p>
        </p:txBody>
      </p:sp>
      <p:sp>
        <p:nvSpPr>
          <p:cNvPr id="15" name="Symbol zastępczy stopki 14">
            <a:extLst>
              <a:ext uri="{FF2B5EF4-FFF2-40B4-BE49-F238E27FC236}">
                <a16:creationId xmlns:a16="http://schemas.microsoft.com/office/drawing/2014/main" id="{BA1D980C-59AB-43EF-9509-A6F5649B043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dirty="0"/>
              <a:t>PowerPoint Master</a:t>
            </a:r>
          </a:p>
        </p:txBody>
      </p:sp>
      <p:sp>
        <p:nvSpPr>
          <p:cNvPr id="16" name="Symbol zastępczy numeru slajdu 15">
            <a:extLst>
              <a:ext uri="{FF2B5EF4-FFF2-40B4-BE49-F238E27FC236}">
                <a16:creationId xmlns:a16="http://schemas.microsoft.com/office/drawing/2014/main" id="{6AD11080-1B0E-49C4-9D36-0DBD7E44AC7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3859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18E44A-F63E-4819-AF26-29E2960B67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080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58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818E44A-F63E-4819-AF26-29E2960B67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6792"/>
            <a:ext cx="3600000" cy="4464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EF87B94-0E4E-4D4D-90D2-45EA54A6DECB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4295800" y="1557213"/>
            <a:ext cx="3600000" cy="4464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EC89F919-1B13-4706-A895-5230C18E4967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 bwMode="gray">
          <a:xfrm>
            <a:off x="8184632" y="1557338"/>
            <a:ext cx="3600000" cy="4464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5" name="Symbol zastępczy daty 14">
            <a:extLst>
              <a:ext uri="{FF2B5EF4-FFF2-40B4-BE49-F238E27FC236}">
                <a16:creationId xmlns:a16="http://schemas.microsoft.com/office/drawing/2014/main" id="{55D96B04-E234-4014-8FCC-6487952D453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r>
              <a:rPr lang="de-DE"/>
              <a:t>X. Monat 202X</a:t>
            </a:r>
            <a:endParaRPr lang="de-DE" dirty="0"/>
          </a:p>
        </p:txBody>
      </p:sp>
      <p:sp>
        <p:nvSpPr>
          <p:cNvPr id="16" name="Symbol zastępczy stopki 15">
            <a:extLst>
              <a:ext uri="{FF2B5EF4-FFF2-40B4-BE49-F238E27FC236}">
                <a16:creationId xmlns:a16="http://schemas.microsoft.com/office/drawing/2014/main" id="{BA63FE83-0C55-400A-9C1A-02449CD5555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dirty="0"/>
              <a:t>PowerPoint Master</a:t>
            </a:r>
          </a:p>
        </p:txBody>
      </p:sp>
      <p:sp>
        <p:nvSpPr>
          <p:cNvPr id="17" name="Symbol zastępczy numeru slajdu 16">
            <a:extLst>
              <a:ext uri="{FF2B5EF4-FFF2-40B4-BE49-F238E27FC236}">
                <a16:creationId xmlns:a16="http://schemas.microsoft.com/office/drawing/2014/main" id="{28D347F1-B51D-47EF-954D-19F05A85137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49599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grafische Bühn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15C34BC-9550-479A-8EB8-445796C514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6571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82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15C34BC-9550-479A-8EB8-445796C514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8"/>
            <a:ext cx="5472112" cy="44640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9" y="6165328"/>
            <a:ext cx="5472732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9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3" y="404696"/>
            <a:ext cx="5471468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4ECF5D8-597F-433C-8071-7F63B641BBB2}"/>
              </a:ext>
            </a:extLst>
          </p:cNvPr>
          <p:cNvSpPr/>
          <p:nvPr userDrawn="1"/>
        </p:nvSpPr>
        <p:spPr bwMode="gray">
          <a:xfrm>
            <a:off x="6311900" y="0"/>
            <a:ext cx="5880099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F4DD610-2368-4729-979C-69C66C382CB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0C5F920-6526-419F-93CD-71241C26F6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0ACDA27-4503-41E6-B4EF-5FA9C82CB23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7800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grafische Bühn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3D06834-44FF-4BAC-9D0E-C47BE59757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263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06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3D06834-44FF-4BAC-9D0E-C47BE59757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8" y="1557338"/>
            <a:ext cx="7488237" cy="44640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7488857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7488857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7487593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4ECF5D8-597F-433C-8071-7F63B641BBB2}"/>
              </a:ext>
            </a:extLst>
          </p:cNvPr>
          <p:cNvSpPr/>
          <p:nvPr userDrawn="1"/>
        </p:nvSpPr>
        <p:spPr bwMode="gray">
          <a:xfrm>
            <a:off x="8183562" y="0"/>
            <a:ext cx="4008437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ECEF76-3969-412F-86F3-1A1BE3534A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68D9AF4-BD8E-4650-A66A-81DB0156315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15" name="Foliennummernplatzhalter 4">
            <a:extLst>
              <a:ext uri="{FF2B5EF4-FFF2-40B4-BE49-F238E27FC236}">
                <a16:creationId xmlns:a16="http://schemas.microsoft.com/office/drawing/2014/main" id="{97DC8CB9-25A8-46A3-BD7C-0371E033FE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24013" y="6525368"/>
            <a:ext cx="360000" cy="21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85946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9889991-D7C3-47DC-A0E7-496256CBD9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739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30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9889991-D7C3-47DC-A0E7-496256CBD9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773FAEC6-8B23-4327-9DFE-B48C2DF8AA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E8BE66F-899A-4EEE-8357-5D8804E5B6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019722D-98AB-4C04-B345-FEA8A37D754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78EDF34-D83F-47D7-90B2-2FBAB1018D7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7131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uzierte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11E6238-6B3F-42F9-B0C2-E51B74CFD7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6931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54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11E6238-6B3F-42F9-B0C2-E51B74CFD7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116632"/>
            <a:ext cx="11376000" cy="2883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tte nur nutzen, wenn große Kreuz- oder Kennzahlentabellen eingesetzt werden,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FF5A8C7-FE4D-4452-9E15-4B91B266A0E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E7A1D4A-1311-426B-A2A9-64E1F7FE37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6ED5A52-36B6-4A34-9598-8ADDB9923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71EB2444-B66C-4C40-A38B-0D92751C70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7" y="477000"/>
            <a:ext cx="11376025" cy="432000"/>
          </a:xfrm>
        </p:spPr>
        <p:txBody>
          <a:bodyPr/>
          <a:lstStyle>
            <a:lvl1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5pPr>
            <a:lvl6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6pPr>
            <a:lvl7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7pPr>
            <a:lvl8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8pPr>
            <a:lvl9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die in den anderen Layouts nicht ausreichend Platz hab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3577306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0"/>
            <a:ext cx="12191999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18483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ein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916A45A-EC1B-4CC7-A5E6-073835D9E6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7944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78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916A45A-EC1B-4CC7-A5E6-073835D9E6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312024" y="0"/>
            <a:ext cx="5879975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5472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5472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8BDF05-DA9C-4140-BBCE-A540250E509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1713DA2-6385-4731-9857-4EA4ABB202D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554616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>
            <a:extLst>
              <a:ext uri="{FF2B5EF4-FFF2-40B4-BE49-F238E27FC236}">
                <a16:creationId xmlns:a16="http://schemas.microsoft.com/office/drawing/2014/main" id="{01794039-6EE9-42EA-AEBC-3793E6922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8158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02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8" name="Obiekt 7" hidden="1">
                        <a:extLst>
                          <a:ext uri="{FF2B5EF4-FFF2-40B4-BE49-F238E27FC236}">
                            <a16:creationId xmlns:a16="http://schemas.microsoft.com/office/drawing/2014/main" id="{01794039-6EE9-42EA-AEBC-3793E6922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312025" y="3429000"/>
            <a:ext cx="5879975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5472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5472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312024" y="1"/>
            <a:ext cx="5879975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29EE2EA-4DD7-4C2A-A348-6510E8D3B8A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2FBC02-8D0A-4411-A701-FB3C646EF58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2054158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28E39D0B-1C52-4219-A4C5-3BA3C06246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52078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5" name="Symbol zastępczy tekstu 2">
            <a:extLst>
              <a:ext uri="{FF2B5EF4-FFF2-40B4-BE49-F238E27FC236}">
                <a16:creationId xmlns:a16="http://schemas.microsoft.com/office/drawing/2014/main" id="{C66FBA54-DA02-4D9A-A991-C7CA2B37F8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6723" y="2312940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6" name="Symbol zastępczy tekstu 2">
            <a:extLst>
              <a:ext uri="{FF2B5EF4-FFF2-40B4-BE49-F238E27FC236}">
                <a16:creationId xmlns:a16="http://schemas.microsoft.com/office/drawing/2014/main" id="{3F338573-B2E3-4920-9CC7-DE173BAE7F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7368" y="310502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7" name="Symbol zastępczy tekstu 2">
            <a:extLst>
              <a:ext uri="{FF2B5EF4-FFF2-40B4-BE49-F238E27FC236}">
                <a16:creationId xmlns:a16="http://schemas.microsoft.com/office/drawing/2014/main" id="{024A7887-1F28-4B02-A601-318D1D0FBC6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7368" y="3897116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2603ECC3-DCAB-40EC-90CE-A360637028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7368" y="4689204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9" name="Symbol zastępczy tekstu 2">
            <a:extLst>
              <a:ext uri="{FF2B5EF4-FFF2-40B4-BE49-F238E27FC236}">
                <a16:creationId xmlns:a16="http://schemas.microsoft.com/office/drawing/2014/main" id="{9CA4ED02-E7A4-4F72-9352-D95AB1314A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7368" y="54812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20" name="Symbol zastępczy tekstu 2">
            <a:extLst>
              <a:ext uri="{FF2B5EF4-FFF2-40B4-BE49-F238E27FC236}">
                <a16:creationId xmlns:a16="http://schemas.microsoft.com/office/drawing/2014/main" id="{30E3E7CD-8D3B-4518-82EB-DBA4D20F41C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6085" y="1520788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1" name="Symbol zastępczy tekstu 2">
            <a:extLst>
              <a:ext uri="{FF2B5EF4-FFF2-40B4-BE49-F238E27FC236}">
                <a16:creationId xmlns:a16="http://schemas.microsoft.com/office/drawing/2014/main" id="{BB058CB8-845E-4715-901A-A96D17FAC8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5440" y="2312940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2" name="Symbol zastępczy tekstu 2">
            <a:extLst>
              <a:ext uri="{FF2B5EF4-FFF2-40B4-BE49-F238E27FC236}">
                <a16:creationId xmlns:a16="http://schemas.microsoft.com/office/drawing/2014/main" id="{31E05F14-8EB7-42D4-8828-79EF4F8C8A6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56085" y="3105028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3" name="Symbol zastępczy tekstu 2">
            <a:extLst>
              <a:ext uri="{FF2B5EF4-FFF2-40B4-BE49-F238E27FC236}">
                <a16:creationId xmlns:a16="http://schemas.microsoft.com/office/drawing/2014/main" id="{31AE3CDC-9DCC-4936-8F1B-6CC168383A2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56085" y="3897116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4" name="Symbol zastępczy tekstu 2">
            <a:extLst>
              <a:ext uri="{FF2B5EF4-FFF2-40B4-BE49-F238E27FC236}">
                <a16:creationId xmlns:a16="http://schemas.microsoft.com/office/drawing/2014/main" id="{61F9105D-D12A-4295-81A9-CF18E5F6909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56085" y="4689204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5" name="Symbol zastępczy tekstu 2">
            <a:extLst>
              <a:ext uri="{FF2B5EF4-FFF2-40B4-BE49-F238E27FC236}">
                <a16:creationId xmlns:a16="http://schemas.microsoft.com/office/drawing/2014/main" id="{99FA460E-8F7C-4F14-9897-889DCBFB8FA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56085" y="5481228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11656CC-B740-40B2-BF86-0F1C567F7B28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3D280A6-24DF-40A4-8E35-928172BDC4E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62EBAF2-0ED0-4401-98FE-0538FEC8A3F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8915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drei Bilder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>
            <a:extLst>
              <a:ext uri="{FF2B5EF4-FFF2-40B4-BE49-F238E27FC236}">
                <a16:creationId xmlns:a16="http://schemas.microsoft.com/office/drawing/2014/main" id="{F5914911-BEE2-4A92-94B8-B86F36789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401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26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8" name="Obiekt 7" hidden="1">
                        <a:extLst>
                          <a:ext uri="{FF2B5EF4-FFF2-40B4-BE49-F238E27FC236}">
                            <a16:creationId xmlns:a16="http://schemas.microsoft.com/office/drawing/2014/main" id="{F5914911-BEE2-4A92-94B8-B86F36789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312025" y="3429000"/>
            <a:ext cx="5879975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5472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5472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312024" y="1"/>
            <a:ext cx="3097089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9FB83DFD-5A5B-4FEC-89F4-CBBAD40D217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9409113" y="0"/>
            <a:ext cx="2782887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F206B50-4E0B-490D-B448-6C8D3775A3C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3C64CF2-1E17-4044-91EC-BB51A7581D48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1818494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drei Bilder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720CC2A-69E5-4868-B716-9775A7ECA1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1292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50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720CC2A-69E5-4868-B716-9775A7ECA1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1DBD824E-7BD9-42EB-A741-717B9ED9C6A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8183563" y="4590000"/>
            <a:ext cx="4008437" cy="2268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7488236" cy="1296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7" y="6165328"/>
            <a:ext cx="7488857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7" y="740776"/>
            <a:ext cx="7488857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1" y="404696"/>
            <a:ext cx="7487593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8183563" y="0"/>
            <a:ext cx="4008437" cy="2268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8183563" y="2268000"/>
            <a:ext cx="4008437" cy="2322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0C8C35B0-D28C-470A-9370-CD75020BFE3D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 bwMode="gray">
          <a:xfrm>
            <a:off x="407989" y="3140968"/>
            <a:ext cx="7488236" cy="1296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34C99758-AEB9-4B74-A583-4F20E16B1F20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 bwMode="gray">
          <a:xfrm>
            <a:off x="407989" y="4725144"/>
            <a:ext cx="7488000" cy="1296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0B50ECE-B0BA-455D-8F30-CE845B849E88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DB6783-981C-4B47-9092-89F09DE80A8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2170947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60E7720-E200-4DB9-AB42-74BC7931B8F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4296421" y="4077072"/>
            <a:ext cx="3599779" cy="19436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8D1CB9BA-DB08-442B-BB4B-78414B60D076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8184232" y="4077072"/>
            <a:ext cx="3599779" cy="19436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4077072"/>
            <a:ext cx="3599779" cy="19436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7" y="6165328"/>
            <a:ext cx="11376645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7" y="740776"/>
            <a:ext cx="11376645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1557040"/>
            <a:ext cx="4187788" cy="230400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AF7A689D-901E-4B0D-900B-83F0EE07FBD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4187785" y="1557040"/>
            <a:ext cx="3816431" cy="230400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AE73C007-3BC4-4F4D-B146-DBF572331A7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8004216" y="1557040"/>
            <a:ext cx="4187784" cy="230400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38B435-437A-4B44-849D-F23018BA51F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82B779B-7CC9-436F-94F9-869E854FB96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ACDD30F-F971-47F1-8BD7-CA36DF36C46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31215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  <p15:guide id="3" orient="horz" pos="2432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9C4CD7F-32FC-4BB4-BA7E-179B0107D6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1665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74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9C4CD7F-32FC-4BB4-BA7E-179B0107D6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8AAAFE53-B217-4863-83D4-FC060BAB860C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 bwMode="gray">
          <a:xfrm>
            <a:off x="9264632" y="3573564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eingeben; eingerichtete Textebenen wechseln mit den Buttons „Listenebene erhöhen/verringern</a:t>
            </a:r>
            <a:r>
              <a:rPr lang="de-DE"/>
              <a:t>“ </a:t>
            </a:r>
            <a:br>
              <a:rPr lang="de-DE"/>
            </a:br>
            <a:r>
              <a:rPr lang="de-DE"/>
              <a:t>im </a:t>
            </a:r>
            <a:r>
              <a:rPr lang="de-DE" dirty="0"/>
              <a:t>Register „Start“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60E7720-E200-4DB9-AB42-74BC7931B8F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3359696" y="3573016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eingeben; eingerichtete Textebenen wechseln mit den Buttons „Listenebene erhöhen/verringern“ </a:t>
            </a:r>
            <a:br>
              <a:rPr lang="de-DE" dirty="0"/>
            </a:br>
            <a:r>
              <a:rPr lang="de-DE" dirty="0"/>
              <a:t>im Register „Start“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8D1CB9BA-DB08-442B-BB4B-78414B60D076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6312024" y="3573016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eingeben; eingerichtete Textebenen wechseln mit den Buttons „Listenebene erhöhen/</a:t>
            </a:r>
            <a:r>
              <a:rPr lang="de-DE"/>
              <a:t>verringern“</a:t>
            </a:r>
            <a:br>
              <a:rPr lang="de-DE"/>
            </a:br>
            <a:r>
              <a:rPr lang="de-DE"/>
              <a:t>im </a:t>
            </a:r>
            <a:r>
              <a:rPr lang="de-DE" dirty="0"/>
              <a:t>Register „Start“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3573016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eingeben; eingerichtete Textebenen wechseln mit den Buttons „Listenebene erhöhen/verringern“ </a:t>
            </a:r>
            <a:br>
              <a:rPr lang="de-DE" dirty="0"/>
            </a:br>
            <a:r>
              <a:rPr lang="de-DE" dirty="0"/>
              <a:t>im Register „Start“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7" y="740776"/>
            <a:ext cx="11376645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1556792"/>
            <a:ext cx="3059995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AF7A689D-901E-4B0D-900B-83F0EE07FBD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59995" y="1556792"/>
            <a:ext cx="3044002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AE73C007-3BC4-4F4D-B146-DBF572331A7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6103997" y="1556792"/>
            <a:ext cx="3044001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C14F9E91-B48F-4001-B73E-2BE94299F49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 bwMode="gray">
          <a:xfrm>
            <a:off x="9147998" y="1556792"/>
            <a:ext cx="3044001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F6E8532-3785-4A2D-875E-90B06880E69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B39C52-5892-44D3-B0AB-C42E46ED39F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D1A2243-D184-476A-B301-7C726E44189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3889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  <p15:guide id="3" orient="horz" pos="2115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1FAAE8-D7A5-42BB-B27C-AE3FEDB2B0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30057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998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1FAAE8-D7A5-42BB-B27C-AE3FEDB2B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>
              <a:lnSpc>
                <a:spcPct val="120000"/>
              </a:lnSpc>
            </a:pPr>
            <a:endParaRPr lang="de-DE" sz="2489" dirty="0"/>
          </a:p>
        </p:txBody>
      </p:sp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843BD60-3C21-4DFB-9315-8E1B14158B5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800" b="1" i="0" baseline="0" dirty="0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368" y="489372"/>
            <a:ext cx="8856000" cy="1224136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Vielen Dank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DD2EEC3-FC57-45CE-AE1E-E4B35AFF42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72328" y="2852936"/>
            <a:ext cx="4176000" cy="2736304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368" y="2852936"/>
            <a:ext cx="4176000" cy="2736304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676B4420-30A9-462A-8B6C-EBBDFAED7B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30437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Tel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FE0E7FF9-D812-4D7F-8F85-17DEDFD8AB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941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Tel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63625631-77D4-4415-8C98-9A89D4FE65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5904503"/>
            <a:ext cx="252000" cy="252000"/>
          </a:xfrm>
          <a:blipFill>
            <a:blip r:embed="rId7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278A99C9-A31A-481D-B782-83F10A2E4D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72328" y="5904503"/>
            <a:ext cx="252000" cy="252000"/>
          </a:xfrm>
          <a:blipFill>
            <a:blip r:embed="rId7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/>
              <a:t> 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3CEB30A4-05EE-4442-B513-54D1C0A043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368" y="6213031"/>
            <a:ext cx="252000" cy="252000"/>
          </a:xfrm>
          <a:blipFill dpi="0" rotWithShape="1">
            <a:blip r:embed="rId8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D711923E-2A99-4720-8987-F4B56C5731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72328" y="6213031"/>
            <a:ext cx="252000" cy="252000"/>
          </a:xfrm>
          <a:blipFill dpi="0" rotWithShape="1">
            <a:blip r:embed="rId8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68ACC2CD-6F0E-4062-8645-C9CC0349098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1B00AA7-4947-4D86-9AB4-F87CC9DEEA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0437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E-Mail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741B0BE8-B4D6-42BB-A617-E1D546C16C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941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28255113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1FAAE8-D7A5-42BB-B27C-AE3FEDB2B0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640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22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1FAAE8-D7A5-42BB-B27C-AE3FEDB2B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843BD60-3C21-4DFB-9315-8E1B14158B5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800" b="1" i="0" baseline="0" dirty="0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368" y="489372"/>
            <a:ext cx="8856000" cy="1224136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dirty="0"/>
              <a:t>Vielen Dank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DD2EEC3-FC57-45CE-AE1E-E4B35AFF42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72328" y="2852936"/>
            <a:ext cx="4176000" cy="2736304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368" y="2852936"/>
            <a:ext cx="4176000" cy="2736304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676B4420-30A9-462A-8B6C-EBBDFAED7B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30437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Tel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FE0E7FF9-D812-4D7F-8F85-17DEDFD8AB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941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Tel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63625631-77D4-4415-8C98-9A89D4FE65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5904503"/>
            <a:ext cx="252000" cy="252000"/>
          </a:xfrm>
          <a:blipFill>
            <a:blip r:embed="rId7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278A99C9-A31A-481D-B782-83F10A2E4D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72328" y="5904503"/>
            <a:ext cx="252000" cy="252000"/>
          </a:xfrm>
          <a:blipFill>
            <a:blip r:embed="rId7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3CEB30A4-05EE-4442-B513-54D1C0A043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368" y="6213031"/>
            <a:ext cx="252000" cy="252000"/>
          </a:xfrm>
          <a:blipFill dpi="0" rotWithShape="1">
            <a:blip r:embed="rId8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D711923E-2A99-4720-8987-F4B56C5731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72328" y="6213031"/>
            <a:ext cx="252000" cy="252000"/>
          </a:xfrm>
          <a:blipFill dpi="0" rotWithShape="1">
            <a:blip r:embed="rId8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68ACC2CD-6F0E-4062-8645-C9CC0349098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1B00AA7-4947-4D86-9AB4-F87CC9DEEA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0437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E-Mail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741B0BE8-B4D6-42BB-A617-E1D546C16C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941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25602257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 27">
            <a:extLst>
              <a:ext uri="{FF2B5EF4-FFF2-40B4-BE49-F238E27FC236}">
                <a16:creationId xmlns:a16="http://schemas.microsoft.com/office/drawing/2014/main" id="{CBEC2E3F-C1EA-43E3-80B7-F0D44312486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A1017C2-DBB3-4119-99A7-970AB05DF8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2000" y="2205004"/>
            <a:ext cx="2452935" cy="24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325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3793">
          <p15:clr>
            <a:srgbClr val="5ACBF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B89EB33F-AD6E-4F8D-AC4C-EAB59AC700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2000" y="2205004"/>
            <a:ext cx="2452935" cy="24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542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3793">
          <p15:clr>
            <a:srgbClr val="5ACBF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343472" y="1557339"/>
            <a:ext cx="8856000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43472" y="3357152"/>
            <a:ext cx="8856000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50" name="Textplatzhalter 9">
            <a:extLst>
              <a:ext uri="{FF2B5EF4-FFF2-40B4-BE49-F238E27FC236}">
                <a16:creationId xmlns:a16="http://schemas.microsoft.com/office/drawing/2014/main" id="{3656EE1D-B61E-47A5-9B5C-F55BD7EAF9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5733296"/>
            <a:ext cx="6912018" cy="360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x.Monat.xxxx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CC72B5D-EB52-4429-B211-425945C57B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2557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iekt 5" hidden="1">
            <a:extLst>
              <a:ext uri="{FF2B5EF4-FFF2-40B4-BE49-F238E27FC236}">
                <a16:creationId xmlns:a16="http://schemas.microsoft.com/office/drawing/2014/main" id="{4A7B0D83-8E0C-4C18-A552-73CED6AF29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5736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93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6" name="Obiekt 5" hidden="1">
                        <a:extLst>
                          <a:ext uri="{FF2B5EF4-FFF2-40B4-BE49-F238E27FC236}">
                            <a16:creationId xmlns:a16="http://schemas.microsoft.com/office/drawing/2014/main" id="{4A7B0D83-8E0C-4C18-A552-73CED6AF29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343472" y="1557339"/>
            <a:ext cx="8856000" cy="1655478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43472" y="3357152"/>
            <a:ext cx="8856000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50" name="Textplatzhalter 9">
            <a:extLst>
              <a:ext uri="{FF2B5EF4-FFF2-40B4-BE49-F238E27FC236}">
                <a16:creationId xmlns:a16="http://schemas.microsoft.com/office/drawing/2014/main" id="{3656EE1D-B61E-47A5-9B5C-F55BD7EAF9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5733296"/>
            <a:ext cx="6912018" cy="360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x.Monat.xxxx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9C95B53-682B-42C7-87E1-07187144646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5173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Symbol zastępczy daty 7">
            <a:extLst>
              <a:ext uri="{FF2B5EF4-FFF2-40B4-BE49-F238E27FC236}">
                <a16:creationId xmlns:a16="http://schemas.microsoft.com/office/drawing/2014/main" id="{C204B1AB-3245-49E5-A127-014AEAC61F6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r>
              <a:rPr lang="de-DE"/>
              <a:t>X. Monat 202X</a:t>
            </a:r>
            <a:endParaRPr lang="de-DE" dirty="0"/>
          </a:p>
        </p:txBody>
      </p:sp>
      <p:sp>
        <p:nvSpPr>
          <p:cNvPr id="9" name="Symbol zastępczy stopki 8">
            <a:extLst>
              <a:ext uri="{FF2B5EF4-FFF2-40B4-BE49-F238E27FC236}">
                <a16:creationId xmlns:a16="http://schemas.microsoft.com/office/drawing/2014/main" id="{E9945776-74E6-4B6A-8220-094828B4ED3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owerPoint Master</a:t>
            </a:r>
          </a:p>
        </p:txBody>
      </p:sp>
      <p:sp>
        <p:nvSpPr>
          <p:cNvPr id="11" name="Symbol zastępczy numeru slajdu 10">
            <a:extLst>
              <a:ext uri="{FF2B5EF4-FFF2-40B4-BE49-F238E27FC236}">
                <a16:creationId xmlns:a16="http://schemas.microsoft.com/office/drawing/2014/main" id="{1983C97C-1699-434E-88A0-1FE9DAC0309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Symbol zastępczy tekstu 2">
            <a:extLst>
              <a:ext uri="{FF2B5EF4-FFF2-40B4-BE49-F238E27FC236}">
                <a16:creationId xmlns:a16="http://schemas.microsoft.com/office/drawing/2014/main" id="{AF207A56-7104-41FC-A9EE-BC6FA7982A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52078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6" name="Symbol zastępczy tekstu 2">
            <a:extLst>
              <a:ext uri="{FF2B5EF4-FFF2-40B4-BE49-F238E27FC236}">
                <a16:creationId xmlns:a16="http://schemas.microsoft.com/office/drawing/2014/main" id="{09A1A87F-801A-4454-959B-3707F803F8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6723" y="2313004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7" name="Symbol zastępczy tekstu 2">
            <a:extLst>
              <a:ext uri="{FF2B5EF4-FFF2-40B4-BE49-F238E27FC236}">
                <a16:creationId xmlns:a16="http://schemas.microsoft.com/office/drawing/2014/main" id="{C370DAE5-371F-4850-A35E-1F834D69F6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7368" y="31050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331AE295-E638-40D5-A256-CF1A02346BC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7368" y="3897180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9" name="Symbol zastępczy tekstu 2">
            <a:extLst>
              <a:ext uri="{FF2B5EF4-FFF2-40B4-BE49-F238E27FC236}">
                <a16:creationId xmlns:a16="http://schemas.microsoft.com/office/drawing/2014/main" id="{D4BB144A-BF9E-4B42-B5CE-5416E26B946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7368" y="468926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20" name="Symbol zastępczy tekstu 2">
            <a:extLst>
              <a:ext uri="{FF2B5EF4-FFF2-40B4-BE49-F238E27FC236}">
                <a16:creationId xmlns:a16="http://schemas.microsoft.com/office/drawing/2014/main" id="{FDCCE525-69AD-4E9C-8CE2-1BE3538DAA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7368" y="54812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21" name="Symbol zastępczy tekstu 2">
            <a:extLst>
              <a:ext uri="{FF2B5EF4-FFF2-40B4-BE49-F238E27FC236}">
                <a16:creationId xmlns:a16="http://schemas.microsoft.com/office/drawing/2014/main" id="{95951527-722B-49E1-9B50-58ED925F62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6085" y="1520788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2" name="Symbol zastępczy tekstu 2">
            <a:extLst>
              <a:ext uri="{FF2B5EF4-FFF2-40B4-BE49-F238E27FC236}">
                <a16:creationId xmlns:a16="http://schemas.microsoft.com/office/drawing/2014/main" id="{E589AD80-9824-4E62-BBB5-0756918E4C3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5440" y="2313004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3" name="Symbol zastępczy tekstu 2">
            <a:extLst>
              <a:ext uri="{FF2B5EF4-FFF2-40B4-BE49-F238E27FC236}">
                <a16:creationId xmlns:a16="http://schemas.microsoft.com/office/drawing/2014/main" id="{601977FB-D13A-4BF7-9B5D-B79C019660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56085" y="3105092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4" name="Symbol zastępczy tekstu 2">
            <a:extLst>
              <a:ext uri="{FF2B5EF4-FFF2-40B4-BE49-F238E27FC236}">
                <a16:creationId xmlns:a16="http://schemas.microsoft.com/office/drawing/2014/main" id="{A9A5F647-F0FD-4E3B-A4C7-47FD4646815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56085" y="3897180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5" name="Symbol zastępczy tekstu 2">
            <a:extLst>
              <a:ext uri="{FF2B5EF4-FFF2-40B4-BE49-F238E27FC236}">
                <a16:creationId xmlns:a16="http://schemas.microsoft.com/office/drawing/2014/main" id="{AA4477D4-26DA-4944-A1CE-15782AB43E6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56085" y="4689268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6" name="Symbol zastępczy tekstu 2">
            <a:extLst>
              <a:ext uri="{FF2B5EF4-FFF2-40B4-BE49-F238E27FC236}">
                <a16:creationId xmlns:a16="http://schemas.microsoft.com/office/drawing/2014/main" id="{3517444B-543B-4C6C-9279-2ED7BF0993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56085" y="5481292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7" name="Symbol zastępczy tekstu 2">
            <a:extLst>
              <a:ext uri="{FF2B5EF4-FFF2-40B4-BE49-F238E27FC236}">
                <a16:creationId xmlns:a16="http://schemas.microsoft.com/office/drawing/2014/main" id="{CE039690-9ECE-4AB1-A3C0-66B4CA89BEF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11379" y="152078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28" name="Symbol zastępczy tekstu 2">
            <a:extLst>
              <a:ext uri="{FF2B5EF4-FFF2-40B4-BE49-F238E27FC236}">
                <a16:creationId xmlns:a16="http://schemas.microsoft.com/office/drawing/2014/main" id="{7270A56F-30AE-43F8-8D9C-773579ECA0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10734" y="2313004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29" name="Symbol zastępczy tekstu 2">
            <a:extLst>
              <a:ext uri="{FF2B5EF4-FFF2-40B4-BE49-F238E27FC236}">
                <a16:creationId xmlns:a16="http://schemas.microsoft.com/office/drawing/2014/main" id="{02322EE6-B48C-47E6-BC1B-6102065D985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11379" y="31050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30" name="Symbol zastępczy tekstu 2">
            <a:extLst>
              <a:ext uri="{FF2B5EF4-FFF2-40B4-BE49-F238E27FC236}">
                <a16:creationId xmlns:a16="http://schemas.microsoft.com/office/drawing/2014/main" id="{9D4557B8-A49A-458D-ADBF-B719FF9BC65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11379" y="3897180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31" name="Symbol zastępczy tekstu 2">
            <a:extLst>
              <a:ext uri="{FF2B5EF4-FFF2-40B4-BE49-F238E27FC236}">
                <a16:creationId xmlns:a16="http://schemas.microsoft.com/office/drawing/2014/main" id="{86BFF05E-ED67-4096-9E5D-A0C0C2F0037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11379" y="468926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32" name="Symbol zastępczy tekstu 2">
            <a:extLst>
              <a:ext uri="{FF2B5EF4-FFF2-40B4-BE49-F238E27FC236}">
                <a16:creationId xmlns:a16="http://schemas.microsoft.com/office/drawing/2014/main" id="{B1C15EC8-9485-400C-9B21-8C88ABDCE33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11379" y="54812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33" name="Symbol zastępczy tekstu 2">
            <a:extLst>
              <a:ext uri="{FF2B5EF4-FFF2-40B4-BE49-F238E27FC236}">
                <a16:creationId xmlns:a16="http://schemas.microsoft.com/office/drawing/2014/main" id="{A2307B4E-1493-4587-8B1D-095FEA8A046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960096" y="1520788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34" name="Symbol zastępczy tekstu 2">
            <a:extLst>
              <a:ext uri="{FF2B5EF4-FFF2-40B4-BE49-F238E27FC236}">
                <a16:creationId xmlns:a16="http://schemas.microsoft.com/office/drawing/2014/main" id="{45BE9BA3-27A7-4128-9276-465A4F0E902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959451" y="2313004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35" name="Symbol zastępczy tekstu 2">
            <a:extLst>
              <a:ext uri="{FF2B5EF4-FFF2-40B4-BE49-F238E27FC236}">
                <a16:creationId xmlns:a16="http://schemas.microsoft.com/office/drawing/2014/main" id="{4364BFBF-1F35-47D6-A344-E3CD2119FED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960096" y="3105092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36" name="Symbol zastępczy tekstu 2">
            <a:extLst>
              <a:ext uri="{FF2B5EF4-FFF2-40B4-BE49-F238E27FC236}">
                <a16:creationId xmlns:a16="http://schemas.microsoft.com/office/drawing/2014/main" id="{1E164401-E487-460D-B215-7E55E14CBA8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960096" y="3897180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37" name="Symbol zastępczy tekstu 2">
            <a:extLst>
              <a:ext uri="{FF2B5EF4-FFF2-40B4-BE49-F238E27FC236}">
                <a16:creationId xmlns:a16="http://schemas.microsoft.com/office/drawing/2014/main" id="{9502F8AC-B41D-40A4-91E3-D97092267B6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960096" y="4689268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38" name="Symbol zastępczy tekstu 2">
            <a:extLst>
              <a:ext uri="{FF2B5EF4-FFF2-40B4-BE49-F238E27FC236}">
                <a16:creationId xmlns:a16="http://schemas.microsoft.com/office/drawing/2014/main" id="{16921B21-93F0-4394-9762-9CFF3D75A7C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960096" y="5481292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4431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3356992"/>
            <a:ext cx="12192000" cy="3501008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343472" y="4077072"/>
            <a:ext cx="8856000" cy="576000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43472" y="4725160"/>
            <a:ext cx="8856000" cy="72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5733296"/>
            <a:ext cx="6912018" cy="360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x.Monat.xxxx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B0476DF1-9CDC-44D7-8634-DE84BA8EDCB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1"/>
            <a:ext cx="12192000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30545FE-C70C-41B3-8699-36419E1D18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7001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iekt 5" hidden="1">
            <a:extLst>
              <a:ext uri="{FF2B5EF4-FFF2-40B4-BE49-F238E27FC236}">
                <a16:creationId xmlns:a16="http://schemas.microsoft.com/office/drawing/2014/main" id="{0D220DD7-7D89-4F54-9A78-122077A9C1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6807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17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6" name="Obiekt 5" hidden="1">
                        <a:extLst>
                          <a:ext uri="{FF2B5EF4-FFF2-40B4-BE49-F238E27FC236}">
                            <a16:creationId xmlns:a16="http://schemas.microsoft.com/office/drawing/2014/main" id="{0D220DD7-7D89-4F54-9A78-122077A9C1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1343472" y="4077072"/>
            <a:ext cx="8856000" cy="576000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343472" y="4725160"/>
            <a:ext cx="8856000" cy="72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343472" y="5733296"/>
            <a:ext cx="6912018" cy="360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Ort, </a:t>
            </a:r>
            <a:r>
              <a:rPr lang="de-DE" dirty="0" err="1"/>
              <a:t>xx.Monat.xxxx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B0476DF1-9CDC-44D7-8634-DE84BA8EDCB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1"/>
            <a:ext cx="12192000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D891D26-46ED-4182-9EED-C6651B17C92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1740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28E39D0B-1C52-4219-A4C5-3BA3C06246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52078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5" name="Symbol zastępczy tekstu 2">
            <a:extLst>
              <a:ext uri="{FF2B5EF4-FFF2-40B4-BE49-F238E27FC236}">
                <a16:creationId xmlns:a16="http://schemas.microsoft.com/office/drawing/2014/main" id="{C66FBA54-DA02-4D9A-A991-C7CA2B37F8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6723" y="2312940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6" name="Symbol zastępczy tekstu 2">
            <a:extLst>
              <a:ext uri="{FF2B5EF4-FFF2-40B4-BE49-F238E27FC236}">
                <a16:creationId xmlns:a16="http://schemas.microsoft.com/office/drawing/2014/main" id="{3F338573-B2E3-4920-9CC7-DE173BAE7F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7368" y="310502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7" name="Symbol zastępczy tekstu 2">
            <a:extLst>
              <a:ext uri="{FF2B5EF4-FFF2-40B4-BE49-F238E27FC236}">
                <a16:creationId xmlns:a16="http://schemas.microsoft.com/office/drawing/2014/main" id="{024A7887-1F28-4B02-A601-318D1D0FBC6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7368" y="3897116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2603ECC3-DCAB-40EC-90CE-A360637028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7368" y="4689204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9" name="Symbol zastępczy tekstu 2">
            <a:extLst>
              <a:ext uri="{FF2B5EF4-FFF2-40B4-BE49-F238E27FC236}">
                <a16:creationId xmlns:a16="http://schemas.microsoft.com/office/drawing/2014/main" id="{9CA4ED02-E7A4-4F72-9352-D95AB1314AB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7368" y="54812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20" name="Symbol zastępczy tekstu 2">
            <a:extLst>
              <a:ext uri="{FF2B5EF4-FFF2-40B4-BE49-F238E27FC236}">
                <a16:creationId xmlns:a16="http://schemas.microsoft.com/office/drawing/2014/main" id="{30E3E7CD-8D3B-4518-82EB-DBA4D20F41C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6085" y="1520788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1" name="Symbol zastępczy tekstu 2">
            <a:extLst>
              <a:ext uri="{FF2B5EF4-FFF2-40B4-BE49-F238E27FC236}">
                <a16:creationId xmlns:a16="http://schemas.microsoft.com/office/drawing/2014/main" id="{BB058CB8-845E-4715-901A-A96D17FAC8E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5440" y="2312940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2" name="Symbol zastępczy tekstu 2">
            <a:extLst>
              <a:ext uri="{FF2B5EF4-FFF2-40B4-BE49-F238E27FC236}">
                <a16:creationId xmlns:a16="http://schemas.microsoft.com/office/drawing/2014/main" id="{31E05F14-8EB7-42D4-8828-79EF4F8C8A6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56085" y="3105028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3" name="Symbol zastępczy tekstu 2">
            <a:extLst>
              <a:ext uri="{FF2B5EF4-FFF2-40B4-BE49-F238E27FC236}">
                <a16:creationId xmlns:a16="http://schemas.microsoft.com/office/drawing/2014/main" id="{31AE3CDC-9DCC-4936-8F1B-6CC168383A2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56085" y="3897116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4" name="Symbol zastępczy tekstu 2">
            <a:extLst>
              <a:ext uri="{FF2B5EF4-FFF2-40B4-BE49-F238E27FC236}">
                <a16:creationId xmlns:a16="http://schemas.microsoft.com/office/drawing/2014/main" id="{61F9105D-D12A-4295-81A9-CF18E5F6909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56085" y="4689204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5" name="Symbol zastępczy tekstu 2">
            <a:extLst>
              <a:ext uri="{FF2B5EF4-FFF2-40B4-BE49-F238E27FC236}">
                <a16:creationId xmlns:a16="http://schemas.microsoft.com/office/drawing/2014/main" id="{99FA460E-8F7C-4F14-9897-889DCBFB8FA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56085" y="5481228"/>
            <a:ext cx="10728000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11656CC-B740-40B2-BF86-0F1C567F7B28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3D280A6-24DF-40A4-8E35-928172BDC4E8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62EBAF2-0ED0-4401-98FE-0538FEC8A3F7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2291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Symbol zastępczy daty 7">
            <a:extLst>
              <a:ext uri="{FF2B5EF4-FFF2-40B4-BE49-F238E27FC236}">
                <a16:creationId xmlns:a16="http://schemas.microsoft.com/office/drawing/2014/main" id="{C204B1AB-3245-49E5-A127-014AEAC61F6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r>
              <a:rPr lang="de-DE"/>
              <a:t>X. Monat 202X</a:t>
            </a:r>
            <a:endParaRPr lang="de-DE" dirty="0"/>
          </a:p>
        </p:txBody>
      </p:sp>
      <p:sp>
        <p:nvSpPr>
          <p:cNvPr id="9" name="Symbol zastępczy stopki 8">
            <a:extLst>
              <a:ext uri="{FF2B5EF4-FFF2-40B4-BE49-F238E27FC236}">
                <a16:creationId xmlns:a16="http://schemas.microsoft.com/office/drawing/2014/main" id="{E9945776-74E6-4B6A-8220-094828B4ED3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owerPoint Master</a:t>
            </a:r>
          </a:p>
        </p:txBody>
      </p:sp>
      <p:sp>
        <p:nvSpPr>
          <p:cNvPr id="11" name="Symbol zastępczy numeru slajdu 10">
            <a:extLst>
              <a:ext uri="{FF2B5EF4-FFF2-40B4-BE49-F238E27FC236}">
                <a16:creationId xmlns:a16="http://schemas.microsoft.com/office/drawing/2014/main" id="{1983C97C-1699-434E-88A0-1FE9DAC0309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5" name="Symbol zastępczy tekstu 2">
            <a:extLst>
              <a:ext uri="{FF2B5EF4-FFF2-40B4-BE49-F238E27FC236}">
                <a16:creationId xmlns:a16="http://schemas.microsoft.com/office/drawing/2014/main" id="{AF207A56-7104-41FC-A9EE-BC6FA7982A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52078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6" name="Symbol zastępczy tekstu 2">
            <a:extLst>
              <a:ext uri="{FF2B5EF4-FFF2-40B4-BE49-F238E27FC236}">
                <a16:creationId xmlns:a16="http://schemas.microsoft.com/office/drawing/2014/main" id="{09A1A87F-801A-4454-959B-3707F803F85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6723" y="2313004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7" name="Symbol zastępczy tekstu 2">
            <a:extLst>
              <a:ext uri="{FF2B5EF4-FFF2-40B4-BE49-F238E27FC236}">
                <a16:creationId xmlns:a16="http://schemas.microsoft.com/office/drawing/2014/main" id="{C370DAE5-371F-4850-A35E-1F834D69F6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7368" y="31050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8" name="Symbol zastępczy tekstu 2">
            <a:extLst>
              <a:ext uri="{FF2B5EF4-FFF2-40B4-BE49-F238E27FC236}">
                <a16:creationId xmlns:a16="http://schemas.microsoft.com/office/drawing/2014/main" id="{331AE295-E638-40D5-A256-CF1A02346BC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7368" y="3897180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19" name="Symbol zastępczy tekstu 2">
            <a:extLst>
              <a:ext uri="{FF2B5EF4-FFF2-40B4-BE49-F238E27FC236}">
                <a16:creationId xmlns:a16="http://schemas.microsoft.com/office/drawing/2014/main" id="{D4BB144A-BF9E-4B42-B5CE-5416E26B946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7368" y="468926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20" name="Symbol zastępczy tekstu 2">
            <a:extLst>
              <a:ext uri="{FF2B5EF4-FFF2-40B4-BE49-F238E27FC236}">
                <a16:creationId xmlns:a16="http://schemas.microsoft.com/office/drawing/2014/main" id="{FDCCE525-69AD-4E9C-8CE2-1BE3538DAA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7368" y="54812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21" name="Symbol zastępczy tekstu 2">
            <a:extLst>
              <a:ext uri="{FF2B5EF4-FFF2-40B4-BE49-F238E27FC236}">
                <a16:creationId xmlns:a16="http://schemas.microsoft.com/office/drawing/2014/main" id="{95951527-722B-49E1-9B50-58ED925F620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6085" y="1520788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2" name="Symbol zastępczy tekstu 2">
            <a:extLst>
              <a:ext uri="{FF2B5EF4-FFF2-40B4-BE49-F238E27FC236}">
                <a16:creationId xmlns:a16="http://schemas.microsoft.com/office/drawing/2014/main" id="{E589AD80-9824-4E62-BBB5-0756918E4C3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5440" y="2313004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3" name="Symbol zastępczy tekstu 2">
            <a:extLst>
              <a:ext uri="{FF2B5EF4-FFF2-40B4-BE49-F238E27FC236}">
                <a16:creationId xmlns:a16="http://schemas.microsoft.com/office/drawing/2014/main" id="{601977FB-D13A-4BF7-9B5D-B79C019660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56085" y="3105092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4" name="Symbol zastępczy tekstu 2">
            <a:extLst>
              <a:ext uri="{FF2B5EF4-FFF2-40B4-BE49-F238E27FC236}">
                <a16:creationId xmlns:a16="http://schemas.microsoft.com/office/drawing/2014/main" id="{A9A5F647-F0FD-4E3B-A4C7-47FD4646815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56085" y="3897180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5" name="Symbol zastępczy tekstu 2">
            <a:extLst>
              <a:ext uri="{FF2B5EF4-FFF2-40B4-BE49-F238E27FC236}">
                <a16:creationId xmlns:a16="http://schemas.microsoft.com/office/drawing/2014/main" id="{AA4477D4-26DA-4944-A1CE-15782AB43E6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56085" y="4689268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6" name="Symbol zastępczy tekstu 2">
            <a:extLst>
              <a:ext uri="{FF2B5EF4-FFF2-40B4-BE49-F238E27FC236}">
                <a16:creationId xmlns:a16="http://schemas.microsoft.com/office/drawing/2014/main" id="{3517444B-543B-4C6C-9279-2ED7BF0993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56085" y="5481292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27" name="Symbol zastępczy tekstu 2">
            <a:extLst>
              <a:ext uri="{FF2B5EF4-FFF2-40B4-BE49-F238E27FC236}">
                <a16:creationId xmlns:a16="http://schemas.microsoft.com/office/drawing/2014/main" id="{CE039690-9ECE-4AB1-A3C0-66B4CA89BEF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311379" y="152078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28" name="Symbol zastępczy tekstu 2">
            <a:extLst>
              <a:ext uri="{FF2B5EF4-FFF2-40B4-BE49-F238E27FC236}">
                <a16:creationId xmlns:a16="http://schemas.microsoft.com/office/drawing/2014/main" id="{7270A56F-30AE-43F8-8D9C-773579ECA04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10734" y="2313004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29" name="Symbol zastępczy tekstu 2">
            <a:extLst>
              <a:ext uri="{FF2B5EF4-FFF2-40B4-BE49-F238E27FC236}">
                <a16:creationId xmlns:a16="http://schemas.microsoft.com/office/drawing/2014/main" id="{02322EE6-B48C-47E6-BC1B-6102065D985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11379" y="31050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30" name="Symbol zastępczy tekstu 2">
            <a:extLst>
              <a:ext uri="{FF2B5EF4-FFF2-40B4-BE49-F238E27FC236}">
                <a16:creationId xmlns:a16="http://schemas.microsoft.com/office/drawing/2014/main" id="{9D4557B8-A49A-458D-ADBF-B719FF9BC65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11379" y="3897180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31" name="Symbol zastępczy tekstu 2">
            <a:extLst>
              <a:ext uri="{FF2B5EF4-FFF2-40B4-BE49-F238E27FC236}">
                <a16:creationId xmlns:a16="http://schemas.microsoft.com/office/drawing/2014/main" id="{86BFF05E-ED67-4096-9E5D-A0C0C2F0037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11379" y="4689268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32" name="Symbol zastępczy tekstu 2">
            <a:extLst>
              <a:ext uri="{FF2B5EF4-FFF2-40B4-BE49-F238E27FC236}">
                <a16:creationId xmlns:a16="http://schemas.microsoft.com/office/drawing/2014/main" id="{B1C15EC8-9485-400C-9B21-8C88ABDCE33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11379" y="5481292"/>
            <a:ext cx="576000" cy="576000"/>
          </a:xfrm>
        </p:spPr>
        <p:txBody>
          <a:bodyPr/>
          <a:lstStyle>
            <a:lvl1pPr>
              <a:spcAft>
                <a:spcPts val="0"/>
              </a:spcAft>
              <a:defRPr sz="2400"/>
            </a:lvl1pPr>
          </a:lstStyle>
          <a:p>
            <a:pPr lvl="0"/>
            <a:r>
              <a:rPr lang="de-DE" dirty="0"/>
              <a:t>00</a:t>
            </a:r>
          </a:p>
        </p:txBody>
      </p:sp>
      <p:sp>
        <p:nvSpPr>
          <p:cNvPr id="33" name="Symbol zastępczy tekstu 2">
            <a:extLst>
              <a:ext uri="{FF2B5EF4-FFF2-40B4-BE49-F238E27FC236}">
                <a16:creationId xmlns:a16="http://schemas.microsoft.com/office/drawing/2014/main" id="{A2307B4E-1493-4587-8B1D-095FEA8A046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960096" y="1520788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34" name="Symbol zastępczy tekstu 2">
            <a:extLst>
              <a:ext uri="{FF2B5EF4-FFF2-40B4-BE49-F238E27FC236}">
                <a16:creationId xmlns:a16="http://schemas.microsoft.com/office/drawing/2014/main" id="{45BE9BA3-27A7-4128-9276-465A4F0E902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959451" y="2313004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35" name="Symbol zastępczy tekstu 2">
            <a:extLst>
              <a:ext uri="{FF2B5EF4-FFF2-40B4-BE49-F238E27FC236}">
                <a16:creationId xmlns:a16="http://schemas.microsoft.com/office/drawing/2014/main" id="{4364BFBF-1F35-47D6-A344-E3CD2119FED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960096" y="3105092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36" name="Symbol zastępczy tekstu 2">
            <a:extLst>
              <a:ext uri="{FF2B5EF4-FFF2-40B4-BE49-F238E27FC236}">
                <a16:creationId xmlns:a16="http://schemas.microsoft.com/office/drawing/2014/main" id="{1E164401-E487-460D-B215-7E55E14CBA8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960096" y="3897180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37" name="Symbol zastępczy tekstu 2">
            <a:extLst>
              <a:ext uri="{FF2B5EF4-FFF2-40B4-BE49-F238E27FC236}">
                <a16:creationId xmlns:a16="http://schemas.microsoft.com/office/drawing/2014/main" id="{9502F8AC-B41D-40A4-91E3-D97092267B6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960096" y="4689268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  <p:sp>
        <p:nvSpPr>
          <p:cNvPr id="38" name="Symbol zastępczy tekstu 2">
            <a:extLst>
              <a:ext uri="{FF2B5EF4-FFF2-40B4-BE49-F238E27FC236}">
                <a16:creationId xmlns:a16="http://schemas.microsoft.com/office/drawing/2014/main" id="{16921B21-93F0-4394-9762-9CFF3D75A7C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960096" y="5481292"/>
            <a:ext cx="4824536" cy="576000"/>
          </a:xfrm>
        </p:spPr>
        <p:txBody>
          <a:bodyPr/>
          <a:lstStyle>
            <a:lvl1pPr>
              <a:spcAft>
                <a:spcPts val="0"/>
              </a:spcAft>
              <a:defRPr sz="2400" b="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7970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 sz="2489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7417370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7417370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</a:t>
            </a:r>
          </a:p>
          <a:p>
            <a:pPr lvl="6"/>
            <a:r>
              <a:rPr lang="de-DE" dirty="0"/>
              <a:t>Sieben</a:t>
            </a:r>
          </a:p>
          <a:p>
            <a:pPr lvl="7"/>
            <a:r>
              <a:rPr lang="de-DE" dirty="0"/>
              <a:t>Acht</a:t>
            </a:r>
          </a:p>
          <a:p>
            <a:pPr lvl="8"/>
            <a:r>
              <a:rPr lang="de-DE" dirty="0"/>
              <a:t>Neun</a:t>
            </a:r>
          </a:p>
        </p:txBody>
      </p:sp>
    </p:spTree>
    <p:extLst>
      <p:ext uri="{BB962C8B-B14F-4D97-AF65-F5344CB8AC3E}">
        <p14:creationId xmlns:p14="http://schemas.microsoft.com/office/powerpoint/2010/main" val="15476825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4" hidden="1">
            <a:extLst>
              <a:ext uri="{FF2B5EF4-FFF2-40B4-BE49-F238E27FC236}">
                <a16:creationId xmlns:a16="http://schemas.microsoft.com/office/drawing/2014/main" id="{A85DE8FC-85EB-49B6-98E6-059ECFBD18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0405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41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5" name="Obiekt 4" hidden="1">
                        <a:extLst>
                          <a:ext uri="{FF2B5EF4-FFF2-40B4-BE49-F238E27FC236}">
                            <a16:creationId xmlns:a16="http://schemas.microsoft.com/office/drawing/2014/main" id="{A85DE8FC-85EB-49B6-98E6-059ECFBD18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7417370" cy="1655478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7417370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</a:t>
            </a:r>
          </a:p>
          <a:p>
            <a:pPr lvl="6"/>
            <a:r>
              <a:rPr lang="de-DE" dirty="0"/>
              <a:t>Sieben</a:t>
            </a:r>
          </a:p>
          <a:p>
            <a:pPr lvl="7"/>
            <a:r>
              <a:rPr lang="de-DE" dirty="0"/>
              <a:t>Acht</a:t>
            </a:r>
          </a:p>
          <a:p>
            <a:pPr lvl="8"/>
            <a:r>
              <a:rPr lang="de-DE" dirty="0"/>
              <a:t>Neun</a:t>
            </a:r>
          </a:p>
        </p:txBody>
      </p:sp>
    </p:spTree>
    <p:extLst>
      <p:ext uri="{BB962C8B-B14F-4D97-AF65-F5344CB8AC3E}">
        <p14:creationId xmlns:p14="http://schemas.microsoft.com/office/powerpoint/2010/main" val="13815229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4537075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4537075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</a:t>
            </a:r>
          </a:p>
          <a:p>
            <a:pPr lvl="6"/>
            <a:r>
              <a:rPr lang="de-DE" dirty="0"/>
              <a:t>Sieben</a:t>
            </a:r>
          </a:p>
          <a:p>
            <a:pPr lvl="7"/>
            <a:r>
              <a:rPr lang="de-DE" dirty="0"/>
              <a:t>Acht</a:t>
            </a:r>
          </a:p>
          <a:p>
            <a:pPr lvl="8"/>
            <a:r>
              <a:rPr lang="de-DE" dirty="0"/>
              <a:t>Neu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8183562" y="0"/>
            <a:ext cx="4008437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16087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mit Bild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4" hidden="1">
            <a:extLst>
              <a:ext uri="{FF2B5EF4-FFF2-40B4-BE49-F238E27FC236}">
                <a16:creationId xmlns:a16="http://schemas.microsoft.com/office/drawing/2014/main" id="{F86DD87C-3A58-45E5-8112-44900FCBFC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4775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65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5" name="Obiekt 4" hidden="1">
                        <a:extLst>
                          <a:ext uri="{FF2B5EF4-FFF2-40B4-BE49-F238E27FC236}">
                            <a16:creationId xmlns:a16="http://schemas.microsoft.com/office/drawing/2014/main" id="{F86DD87C-3A58-45E5-8112-44900FCBFC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4537075" cy="1655478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4537075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</a:t>
            </a:r>
          </a:p>
          <a:p>
            <a:pPr lvl="6"/>
            <a:r>
              <a:rPr lang="de-DE" dirty="0"/>
              <a:t>Sieben</a:t>
            </a:r>
          </a:p>
          <a:p>
            <a:pPr lvl="7"/>
            <a:r>
              <a:rPr lang="de-DE" dirty="0"/>
              <a:t>Acht</a:t>
            </a:r>
          </a:p>
          <a:p>
            <a:pPr lvl="8"/>
            <a:r>
              <a:rPr lang="de-DE" dirty="0"/>
              <a:t>Neu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8183562" y="0"/>
            <a:ext cx="4008437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567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11E6238-6B3F-42F9-B0C2-E51B74CFD7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7380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89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11E6238-6B3F-42F9-B0C2-E51B74CFD7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8" y="1557338"/>
            <a:ext cx="11376025" cy="44640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9" name="Symbol zastępczy daty 8">
            <a:extLst>
              <a:ext uri="{FF2B5EF4-FFF2-40B4-BE49-F238E27FC236}">
                <a16:creationId xmlns:a16="http://schemas.microsoft.com/office/drawing/2014/main" id="{7EC46B94-0D08-4CE0-B22F-D813B47C932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r>
              <a:rPr lang="de-DE"/>
              <a:t>X. Monat 202X</a:t>
            </a:r>
            <a:endParaRPr lang="de-DE" dirty="0"/>
          </a:p>
        </p:txBody>
      </p:sp>
      <p:sp>
        <p:nvSpPr>
          <p:cNvPr id="11" name="Symbol zastępczy stopki 10">
            <a:extLst>
              <a:ext uri="{FF2B5EF4-FFF2-40B4-BE49-F238E27FC236}">
                <a16:creationId xmlns:a16="http://schemas.microsoft.com/office/drawing/2014/main" id="{7E5D491C-8758-458C-A681-72200280927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owerPoint Master</a:t>
            </a:r>
          </a:p>
        </p:txBody>
      </p:sp>
      <p:sp>
        <p:nvSpPr>
          <p:cNvPr id="15" name="Symbol zastępczy numeru slajdu 14">
            <a:extLst>
              <a:ext uri="{FF2B5EF4-FFF2-40B4-BE49-F238E27FC236}">
                <a16:creationId xmlns:a16="http://schemas.microsoft.com/office/drawing/2014/main" id="{B2750AB2-2DA9-4CAA-8087-9BBAEB99226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2274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6C32A24-1D2F-41A7-87DA-EE021ABD9D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4990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13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6C32A24-1D2F-41A7-87DA-EE021ABD9D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EF87B94-0E4E-4D4D-90D2-45EA54A6DECB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6312632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Symbol zastępczy daty 10">
            <a:extLst>
              <a:ext uri="{FF2B5EF4-FFF2-40B4-BE49-F238E27FC236}">
                <a16:creationId xmlns:a16="http://schemas.microsoft.com/office/drawing/2014/main" id="{0C373CB0-8B8A-4362-B863-C95BECC62E2E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algn="r"/>
            <a:r>
              <a:rPr lang="de-DE"/>
              <a:t>X. Monat 202X</a:t>
            </a:r>
            <a:endParaRPr lang="de-DE" dirty="0"/>
          </a:p>
        </p:txBody>
      </p:sp>
      <p:sp>
        <p:nvSpPr>
          <p:cNvPr id="15" name="Symbol zastępczy stopki 14">
            <a:extLst>
              <a:ext uri="{FF2B5EF4-FFF2-40B4-BE49-F238E27FC236}">
                <a16:creationId xmlns:a16="http://schemas.microsoft.com/office/drawing/2014/main" id="{BA1D980C-59AB-43EF-9509-A6F5649B043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dirty="0"/>
              <a:t>PowerPoint Master</a:t>
            </a:r>
          </a:p>
        </p:txBody>
      </p:sp>
      <p:sp>
        <p:nvSpPr>
          <p:cNvPr id="16" name="Symbol zastępczy numeru slajdu 15">
            <a:extLst>
              <a:ext uri="{FF2B5EF4-FFF2-40B4-BE49-F238E27FC236}">
                <a16:creationId xmlns:a16="http://schemas.microsoft.com/office/drawing/2014/main" id="{6AD11080-1B0E-49C4-9D36-0DBD7E44AC7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059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 sz="2489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7417370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7417370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</a:t>
            </a:r>
          </a:p>
          <a:p>
            <a:pPr lvl="6"/>
            <a:r>
              <a:rPr lang="de-DE" dirty="0"/>
              <a:t>Sieben</a:t>
            </a:r>
          </a:p>
          <a:p>
            <a:pPr lvl="7"/>
            <a:r>
              <a:rPr lang="de-DE" dirty="0"/>
              <a:t>Acht</a:t>
            </a:r>
          </a:p>
          <a:p>
            <a:pPr lvl="8"/>
            <a:r>
              <a:rPr lang="de-DE" dirty="0"/>
              <a:t>Neun</a:t>
            </a:r>
          </a:p>
        </p:txBody>
      </p:sp>
    </p:spTree>
    <p:extLst>
      <p:ext uri="{BB962C8B-B14F-4D97-AF65-F5344CB8AC3E}">
        <p14:creationId xmlns:p14="http://schemas.microsoft.com/office/powerpoint/2010/main" val="28243208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18E44A-F63E-4819-AF26-29E2960B67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6117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37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818E44A-F63E-4819-AF26-29E2960B67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6792"/>
            <a:ext cx="3600000" cy="4464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AEF87B94-0E4E-4D4D-90D2-45EA54A6DECB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4295800" y="1557213"/>
            <a:ext cx="3600000" cy="4464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EC89F919-1B13-4706-A895-5230C18E4967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 bwMode="gray">
          <a:xfrm>
            <a:off x="8184632" y="1557338"/>
            <a:ext cx="3600000" cy="4464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5" name="Symbol zastępczy daty 14">
            <a:extLst>
              <a:ext uri="{FF2B5EF4-FFF2-40B4-BE49-F238E27FC236}">
                <a16:creationId xmlns:a16="http://schemas.microsoft.com/office/drawing/2014/main" id="{55D96B04-E234-4014-8FCC-6487952D453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pPr algn="r"/>
            <a:r>
              <a:rPr lang="de-DE"/>
              <a:t>X. Monat 202X</a:t>
            </a:r>
            <a:endParaRPr lang="de-DE" dirty="0"/>
          </a:p>
        </p:txBody>
      </p:sp>
      <p:sp>
        <p:nvSpPr>
          <p:cNvPr id="16" name="Symbol zastępczy stopki 15">
            <a:extLst>
              <a:ext uri="{FF2B5EF4-FFF2-40B4-BE49-F238E27FC236}">
                <a16:creationId xmlns:a16="http://schemas.microsoft.com/office/drawing/2014/main" id="{BA63FE83-0C55-400A-9C1A-02449CD5555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dirty="0"/>
              <a:t>PowerPoint Master</a:t>
            </a:r>
          </a:p>
        </p:txBody>
      </p:sp>
      <p:sp>
        <p:nvSpPr>
          <p:cNvPr id="17" name="Symbol zastępczy numeru slajdu 16">
            <a:extLst>
              <a:ext uri="{FF2B5EF4-FFF2-40B4-BE49-F238E27FC236}">
                <a16:creationId xmlns:a16="http://schemas.microsoft.com/office/drawing/2014/main" id="{28D347F1-B51D-47EF-954D-19F05A85137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CFDFCC3-8B40-4EE5-B231-005F2F1C6A6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26648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grafische Bühn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15C34BC-9550-479A-8EB8-445796C514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475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61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15C34BC-9550-479A-8EB8-445796C514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8"/>
            <a:ext cx="5472112" cy="44640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9" y="6165328"/>
            <a:ext cx="5472732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9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3" y="404696"/>
            <a:ext cx="5471468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4ECF5D8-597F-433C-8071-7F63B641BBB2}"/>
              </a:ext>
            </a:extLst>
          </p:cNvPr>
          <p:cNvSpPr/>
          <p:nvPr userDrawn="1"/>
        </p:nvSpPr>
        <p:spPr bwMode="gray">
          <a:xfrm>
            <a:off x="6311900" y="0"/>
            <a:ext cx="5880099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F4DD610-2368-4729-979C-69C66C382CB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0C5F920-6526-419F-93CD-71241C26F66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0ACDA27-4503-41E6-B4EF-5FA9C82CB23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749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grafische Bühn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3D06834-44FF-4BAC-9D0E-C47BE59757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3640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85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3D06834-44FF-4BAC-9D0E-C47BE59757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8" y="1557338"/>
            <a:ext cx="7488237" cy="44640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7488857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7488857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7487593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4ECF5D8-597F-433C-8071-7F63B641BBB2}"/>
              </a:ext>
            </a:extLst>
          </p:cNvPr>
          <p:cNvSpPr/>
          <p:nvPr userDrawn="1"/>
        </p:nvSpPr>
        <p:spPr bwMode="gray">
          <a:xfrm>
            <a:off x="8183562" y="0"/>
            <a:ext cx="4008437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ECEF76-3969-412F-86F3-1A1BE3534A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68D9AF4-BD8E-4650-A66A-81DB0156315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15" name="Foliennummernplatzhalter 4">
            <a:extLst>
              <a:ext uri="{FF2B5EF4-FFF2-40B4-BE49-F238E27FC236}">
                <a16:creationId xmlns:a16="http://schemas.microsoft.com/office/drawing/2014/main" id="{97DC8CB9-25A8-46A3-BD7C-0371E033FE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24013" y="6525368"/>
            <a:ext cx="360000" cy="216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CFDFCC3-8B40-4EE5-B231-005F2F1C6A68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8883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9889991-D7C3-47DC-A0E7-496256CBD9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3447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09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9889991-D7C3-47DC-A0E7-496256CBD9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9" name="Textplatzhalt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773FAEC6-8B23-4327-9DFE-B48C2DF8AA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E8BE66F-899A-4EEE-8357-5D8804E5B6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019722D-98AB-4C04-B345-FEA8A37D754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E78EDF34-D83F-47D7-90B2-2FBAB1018D7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583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uzierte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11E6238-6B3F-42F9-B0C2-E51B74CFD7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348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33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11E6238-6B3F-42F9-B0C2-E51B74CFD7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7368" y="116632"/>
            <a:ext cx="11376000" cy="2883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tte nur nutzen, wenn große Kreuz- oder Kennzahlentabellen eingesetzt werden,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FF5A8C7-FE4D-4452-9E15-4B91B266A0E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E7A1D4A-1311-426B-A2A9-64E1F7FE37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6ED5A52-36B6-4A34-9598-8ADDB99234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  <p:sp>
        <p:nvSpPr>
          <p:cNvPr id="9" name="Untertitel 2">
            <a:extLst>
              <a:ext uri="{FF2B5EF4-FFF2-40B4-BE49-F238E27FC236}">
                <a16:creationId xmlns:a16="http://schemas.microsoft.com/office/drawing/2014/main" id="{71EB2444-B66C-4C40-A38B-0D92751C70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987" y="477000"/>
            <a:ext cx="11376025" cy="432000"/>
          </a:xfrm>
        </p:spPr>
        <p:txBody>
          <a:bodyPr/>
          <a:lstStyle>
            <a:lvl1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1pPr>
            <a:lvl2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2pPr>
            <a:lvl3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3pPr>
            <a:lvl4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4pPr>
            <a:lvl5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5pPr>
            <a:lvl6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6pPr>
            <a:lvl7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7pPr>
            <a:lvl8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8pPr>
            <a:lvl9pPr marL="180000" indent="-18000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die in den anderen Layouts nicht ausreichend Platz habe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3333602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0"/>
            <a:ext cx="12191999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661251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ein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916A45A-EC1B-4CC7-A5E6-073835D9E6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0942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57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916A45A-EC1B-4CC7-A5E6-073835D9E6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312024" y="0"/>
            <a:ext cx="5879975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5472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5472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8BDF05-DA9C-4140-BBCE-A540250E509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1713DA2-6385-4731-9857-4EA4ABB202D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4046522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>
            <a:extLst>
              <a:ext uri="{FF2B5EF4-FFF2-40B4-BE49-F238E27FC236}">
                <a16:creationId xmlns:a16="http://schemas.microsoft.com/office/drawing/2014/main" id="{01794039-6EE9-42EA-AEBC-3793E6922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044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1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8" name="Obiekt 7" hidden="1">
                        <a:extLst>
                          <a:ext uri="{FF2B5EF4-FFF2-40B4-BE49-F238E27FC236}">
                            <a16:creationId xmlns:a16="http://schemas.microsoft.com/office/drawing/2014/main" id="{01794039-6EE9-42EA-AEBC-3793E6922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312025" y="3429000"/>
            <a:ext cx="5879975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5472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5472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312024" y="1"/>
            <a:ext cx="5879975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29EE2EA-4DD7-4C2A-A348-6510E8D3B8A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2FBC02-8D0A-4411-A701-FB3C646EF58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1368630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drei Bilder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>
            <a:extLst>
              <a:ext uri="{FF2B5EF4-FFF2-40B4-BE49-F238E27FC236}">
                <a16:creationId xmlns:a16="http://schemas.microsoft.com/office/drawing/2014/main" id="{F5914911-BEE2-4A92-94B8-B86F36789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5911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5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8" name="Obiekt 7" hidden="1">
                        <a:extLst>
                          <a:ext uri="{FF2B5EF4-FFF2-40B4-BE49-F238E27FC236}">
                            <a16:creationId xmlns:a16="http://schemas.microsoft.com/office/drawing/2014/main" id="{F5914911-BEE2-4A92-94B8-B86F36789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312025" y="3429000"/>
            <a:ext cx="5879975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5472000" cy="446395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5472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5472732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5472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312024" y="1"/>
            <a:ext cx="3097089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9FB83DFD-5A5B-4FEC-89F4-CBBAD40D217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9409113" y="0"/>
            <a:ext cx="2782887" cy="3429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F206B50-4E0B-490D-B448-6C8D3775A3C8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3C64CF2-1E17-4044-91EC-BB51A7581D48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363528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drei Bilder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720CC2A-69E5-4868-B716-9775A7ECA1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6273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29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720CC2A-69E5-4868-B716-9775A7ECA1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1DBD824E-7BD9-42EB-A741-717B9ED9C6AC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8183563" y="4590000"/>
            <a:ext cx="4008437" cy="2268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1557339"/>
            <a:ext cx="7488236" cy="1296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7" y="6165328"/>
            <a:ext cx="7488857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7" y="740776"/>
            <a:ext cx="7488857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1" y="404696"/>
            <a:ext cx="7487593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8183563" y="0"/>
            <a:ext cx="4008437" cy="2268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72EA302A-73E1-4E4F-B4BD-5AB867F331A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8183563" y="2268000"/>
            <a:ext cx="4008437" cy="2322000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0C8C35B0-D28C-470A-9370-CD75020BFE3D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 bwMode="gray">
          <a:xfrm>
            <a:off x="407989" y="3140968"/>
            <a:ext cx="7488236" cy="1296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34C99758-AEB9-4B74-A583-4F20E16B1F20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 bwMode="gray">
          <a:xfrm>
            <a:off x="407989" y="4725144"/>
            <a:ext cx="7488000" cy="1296000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tx1"/>
                </a:solidFill>
                <a:latin typeface="+mn-lt"/>
              </a:defRPr>
            </a:lvl2pPr>
            <a:lvl3pPr>
              <a:defRPr>
                <a:solidFill>
                  <a:schemeClr val="tx1"/>
                </a:solidFill>
                <a:latin typeface="+mn-lt"/>
              </a:defRPr>
            </a:lvl3pPr>
            <a:lvl4pPr>
              <a:defRPr>
                <a:solidFill>
                  <a:schemeClr val="tx1"/>
                </a:solidFill>
                <a:latin typeface="+mn-lt"/>
              </a:defRPr>
            </a:lvl4pPr>
            <a:lvl5pPr>
              <a:defRPr>
                <a:solidFill>
                  <a:schemeClr val="tx1"/>
                </a:solidFill>
                <a:latin typeface="+mn-lt"/>
              </a:defRPr>
            </a:lvl5pPr>
            <a:lvl6pPr>
              <a:defRPr>
                <a:solidFill>
                  <a:schemeClr val="tx1"/>
                </a:solidFill>
                <a:latin typeface="+mn-lt"/>
              </a:defRPr>
            </a:lvl6pPr>
            <a:lvl7pPr>
              <a:defRPr>
                <a:solidFill>
                  <a:schemeClr val="tx1"/>
                </a:solidFill>
                <a:latin typeface="+mn-lt"/>
              </a:defRPr>
            </a:lvl7pPr>
            <a:lvl8pPr>
              <a:defRPr>
                <a:solidFill>
                  <a:schemeClr val="tx1"/>
                </a:solidFill>
                <a:latin typeface="+mn-lt"/>
              </a:defRPr>
            </a:lvl8pPr>
            <a:lvl9pPr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0B50ECE-B0BA-455D-8F30-CE845B849E88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DB6783-981C-4B47-9092-89F09DE80A8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34601124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4" hidden="1">
            <a:extLst>
              <a:ext uri="{FF2B5EF4-FFF2-40B4-BE49-F238E27FC236}">
                <a16:creationId xmlns:a16="http://schemas.microsoft.com/office/drawing/2014/main" id="{A85DE8FC-85EB-49B6-98E6-059ECFBD18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7187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1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5" name="Obiekt 4" hidden="1">
                        <a:extLst>
                          <a:ext uri="{FF2B5EF4-FFF2-40B4-BE49-F238E27FC236}">
                            <a16:creationId xmlns:a16="http://schemas.microsoft.com/office/drawing/2014/main" id="{A85DE8FC-85EB-49B6-98E6-059ECFBD18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7417370" cy="1655478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7417370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tx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tx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</a:t>
            </a:r>
          </a:p>
          <a:p>
            <a:pPr lvl="6"/>
            <a:r>
              <a:rPr lang="de-DE" dirty="0"/>
              <a:t>Sieben</a:t>
            </a:r>
          </a:p>
          <a:p>
            <a:pPr lvl="7"/>
            <a:r>
              <a:rPr lang="de-DE" dirty="0"/>
              <a:t>Acht</a:t>
            </a:r>
          </a:p>
          <a:p>
            <a:pPr lvl="8"/>
            <a:r>
              <a:rPr lang="de-DE" dirty="0"/>
              <a:t>Neun</a:t>
            </a:r>
          </a:p>
        </p:txBody>
      </p:sp>
    </p:spTree>
    <p:extLst>
      <p:ext uri="{BB962C8B-B14F-4D97-AF65-F5344CB8AC3E}">
        <p14:creationId xmlns:p14="http://schemas.microsoft.com/office/powerpoint/2010/main" val="4038687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60E7720-E200-4DB9-AB42-74BC7931B8F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4296421" y="4077072"/>
            <a:ext cx="3599779" cy="19436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8D1CB9BA-DB08-442B-BB4B-78414B60D076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8184232" y="4077072"/>
            <a:ext cx="3599779" cy="19436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4077072"/>
            <a:ext cx="3599779" cy="194366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7" y="6165328"/>
            <a:ext cx="11376645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7" y="740776"/>
            <a:ext cx="11376645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1557040"/>
            <a:ext cx="4187788" cy="230400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AF7A689D-901E-4B0D-900B-83F0EE07FBD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4187785" y="1557040"/>
            <a:ext cx="3816431" cy="230400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AE73C007-3BC4-4F4D-B146-DBF572331A7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8004216" y="1557040"/>
            <a:ext cx="4187784" cy="2304008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B38B435-437A-4B44-849D-F23018BA51F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82B779B-7CC9-436F-94F9-869E854FB96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ACDD30F-F971-47F1-8BD7-CA36DF36C46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8063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  <p15:guide id="3" orient="horz" pos="2432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mit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9C4CD7F-32FC-4BB4-BA7E-179B0107D6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1257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53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9C4CD7F-32FC-4BB4-BA7E-179B0107D6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8AAAFE53-B217-4863-83D4-FC060BAB860C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 bwMode="gray">
          <a:xfrm>
            <a:off x="9264632" y="3573564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eingeben; eingerichtete Textebenen wechseln mit den Buttons „Listenebene erhöhen/verringern</a:t>
            </a:r>
            <a:r>
              <a:rPr lang="de-DE"/>
              <a:t>“ </a:t>
            </a:r>
            <a:br>
              <a:rPr lang="de-DE"/>
            </a:br>
            <a:r>
              <a:rPr lang="de-DE"/>
              <a:t>im </a:t>
            </a:r>
            <a:r>
              <a:rPr lang="de-DE" dirty="0"/>
              <a:t>Register „Start“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D60E7720-E200-4DB9-AB42-74BC7931B8F5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3359696" y="3573016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eingeben; eingerichtete Textebenen wechseln mit den Buttons „Listenebene erhöhen/verringern“ </a:t>
            </a:r>
            <a:br>
              <a:rPr lang="de-DE" dirty="0"/>
            </a:br>
            <a:r>
              <a:rPr lang="de-DE" dirty="0"/>
              <a:t>im Register „Start“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0" name="Inhaltsplatzhalter 2">
            <a:extLst>
              <a:ext uri="{FF2B5EF4-FFF2-40B4-BE49-F238E27FC236}">
                <a16:creationId xmlns:a16="http://schemas.microsoft.com/office/drawing/2014/main" id="{8D1CB9BA-DB08-442B-BB4B-78414B60D076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6312024" y="3573016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eingeben; eingerichtete Textebenen wechseln mit den Buttons „Listenebene erhöhen/</a:t>
            </a:r>
            <a:r>
              <a:rPr lang="de-DE"/>
              <a:t>verringern“</a:t>
            </a:r>
            <a:br>
              <a:rPr lang="de-DE"/>
            </a:br>
            <a:r>
              <a:rPr lang="de-DE"/>
              <a:t>im </a:t>
            </a:r>
            <a:r>
              <a:rPr lang="de-DE" dirty="0"/>
              <a:t>Register „Start“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22D10AAE-E753-4D86-8315-2C9BB6BF66E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407989" y="3573016"/>
            <a:ext cx="2520000" cy="244772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Text eingeben; eingerichtete Textebenen wechseln mit den Buttons „Listenebene erhöhen/verringern“ </a:t>
            </a:r>
            <a:br>
              <a:rPr lang="de-DE" dirty="0"/>
            </a:br>
            <a:r>
              <a:rPr lang="de-DE" dirty="0"/>
              <a:t>im Register „Start“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6165328"/>
            <a:ext cx="11376000" cy="216000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9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ußnote/Quellenangab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2" name="Titelplatzhalter 1">
            <a:extLst>
              <a:ext uri="{FF2B5EF4-FFF2-40B4-BE49-F238E27FC236}">
                <a16:creationId xmlns:a16="http://schemas.microsoft.com/office/drawing/2014/main" id="{3EBDBE0F-F52C-4A65-BFDE-28D54BBC017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367" y="740776"/>
            <a:ext cx="11376645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ED9C4342-429C-4718-91C2-3FD1BD4A9A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08632" y="404696"/>
            <a:ext cx="11376000" cy="288000"/>
          </a:xfrm>
        </p:spPr>
        <p:txBody>
          <a:bodyPr t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Zusatz zum Folientitel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E8CB5280-FF36-45FF-A7EA-8A78887651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0" y="1556792"/>
            <a:ext cx="3059995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AF7A689D-901E-4B0D-900B-83F0EE07FBD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3059995" y="1556792"/>
            <a:ext cx="3044002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AE73C007-3BC4-4F4D-B146-DBF572331A7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6103997" y="1556792"/>
            <a:ext cx="3044001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C14F9E91-B48F-4001-B73E-2BE94299F49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 bwMode="gray">
          <a:xfrm>
            <a:off x="9147998" y="1556792"/>
            <a:ext cx="3044001" cy="1800771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F6E8532-3785-4A2D-875E-90B06880E69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B39C52-5892-44D3-B0AB-C42E46ED39F2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D1A2243-D184-476A-B301-7C726E44189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95493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93">
          <p15:clr>
            <a:srgbClr val="5ACBF0"/>
          </p15:clr>
        </p15:guide>
        <p15:guide id="3" orient="horz" pos="211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1FAAE8-D7A5-42BB-B27C-AE3FEDB2B0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6566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77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1FAAE8-D7A5-42BB-B27C-AE3FEDB2B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>
              <a:lnSpc>
                <a:spcPct val="120000"/>
              </a:lnSpc>
            </a:pPr>
            <a:endParaRPr lang="de-DE" sz="2489" dirty="0"/>
          </a:p>
        </p:txBody>
      </p:sp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843BD60-3C21-4DFB-9315-8E1B14158B5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800" b="1" i="0" baseline="0" dirty="0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368" y="489372"/>
            <a:ext cx="8856000" cy="1224136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Vielen Dank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DD2EEC3-FC57-45CE-AE1E-E4B35AFF42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72328" y="2852936"/>
            <a:ext cx="4176000" cy="2736304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368" y="2852936"/>
            <a:ext cx="4176000" cy="2736304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676B4420-30A9-462A-8B6C-EBBDFAED7B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30437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Tel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FE0E7FF9-D812-4D7F-8F85-17DEDFD8AB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941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Tel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63625631-77D4-4415-8C98-9A89D4FE65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5904503"/>
            <a:ext cx="252000" cy="252000"/>
          </a:xfrm>
          <a:blipFill>
            <a:blip r:embed="rId7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278A99C9-A31A-481D-B782-83F10A2E4D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72328" y="5904503"/>
            <a:ext cx="252000" cy="252000"/>
          </a:xfrm>
          <a:blipFill>
            <a:blip r:embed="rId7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/>
              <a:t> 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3CEB30A4-05EE-4442-B513-54D1C0A043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368" y="6213031"/>
            <a:ext cx="252000" cy="252000"/>
          </a:xfrm>
          <a:blipFill dpi="0" rotWithShape="1">
            <a:blip r:embed="rId8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D711923E-2A99-4720-8987-F4B56C5731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72328" y="6213031"/>
            <a:ext cx="252000" cy="252000"/>
          </a:xfrm>
          <a:blipFill dpi="0" rotWithShape="1">
            <a:blip r:embed="rId8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68ACC2CD-6F0E-4062-8645-C9CC0349098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1B00AA7-4947-4D86-9AB4-F87CC9DEEA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0437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E-Mail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741B0BE8-B4D6-42BB-A617-E1D546C16C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941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7340069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1FAAE8-D7A5-42BB-B27C-AE3FEDB2B0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5233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01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1FAAE8-D7A5-42BB-B27C-AE3FEDB2B0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4843BD60-3C21-4DFB-9315-8E1B14158B5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800" b="1" i="0" baseline="0" dirty="0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407368" y="489372"/>
            <a:ext cx="8856000" cy="1224136"/>
          </a:xfrm>
        </p:spPr>
        <p:txBody>
          <a:bodyPr vert="horz" anchor="b"/>
          <a:lstStyle>
            <a:lvl1pPr algn="l">
              <a:lnSpc>
                <a:spcPct val="90000"/>
              </a:lnSpc>
              <a:spcBef>
                <a:spcPts val="0"/>
              </a:spcBef>
              <a:defRPr sz="4800" b="1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dirty="0"/>
              <a:t>Vielen Dank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DD2EEC3-FC57-45CE-AE1E-E4B35AFF42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72328" y="2852936"/>
            <a:ext cx="4176000" cy="2736304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tx1"/>
                </a:solidFill>
              </a:defRPr>
            </a:lvl9pPr>
          </a:lstStyle>
          <a:p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07368" y="2852936"/>
            <a:ext cx="4176000" cy="2736304"/>
          </a:xfrm>
        </p:spPr>
        <p:txBody>
          <a:bodyPr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dirty="0"/>
              <a:t>Vorname Nach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676B4420-30A9-462A-8B6C-EBBDFAED7B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30437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Tel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FE0E7FF9-D812-4D7F-8F85-17DEDFD8AB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39416" y="5904503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Tel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63625631-77D4-4415-8C98-9A89D4FE65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7368" y="5904503"/>
            <a:ext cx="252000" cy="252000"/>
          </a:xfrm>
          <a:blipFill>
            <a:blip r:embed="rId7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278A99C9-A31A-481D-B782-83F10A2E4D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872328" y="5904503"/>
            <a:ext cx="252000" cy="252000"/>
          </a:xfrm>
          <a:blipFill>
            <a:blip r:embed="rId7"/>
            <a:stretch>
              <a:fillRect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3CEB30A4-05EE-4442-B513-54D1C0A043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07368" y="6213031"/>
            <a:ext cx="252000" cy="252000"/>
          </a:xfrm>
          <a:blipFill dpi="0" rotWithShape="1">
            <a:blip r:embed="rId8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  <a:endParaRPr lang="de-DE" dirty="0"/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D711923E-2A99-4720-8987-F4B56C5731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872328" y="6213031"/>
            <a:ext cx="252000" cy="252000"/>
          </a:xfrm>
          <a:blipFill dpi="0" rotWithShape="1">
            <a:blip r:embed="rId8"/>
            <a:srcRect/>
            <a:stretch>
              <a:fillRect t="15000" b="15000"/>
            </a:stretch>
          </a:blipFill>
        </p:spPr>
        <p:txBody>
          <a:bodyPr anchor="t" anchorCtr="0"/>
          <a:lstStyle>
            <a:lvl1pPr>
              <a:lnSpc>
                <a:spcPct val="100000"/>
              </a:lnSpc>
              <a:spcAft>
                <a:spcPts val="20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/>
              <a:t> </a:t>
            </a:r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68ACC2CD-6F0E-4062-8645-C9CC0349098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6745" y="5517336"/>
            <a:ext cx="937887" cy="936000"/>
          </a:xfrm>
          <a:prstGeom prst="rect">
            <a:avLst/>
          </a:prstGeom>
        </p:spPr>
      </p:pic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1B00AA7-4947-4D86-9AB4-F87CC9DEEAD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30437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E-Mail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741B0BE8-B4D6-42BB-A617-E1D546C16C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9416" y="6213031"/>
            <a:ext cx="3743952" cy="252000"/>
          </a:xfrm>
        </p:spPr>
        <p:txBody>
          <a:bodyPr anchor="t" anchorCtr="0"/>
          <a:lstStyle>
            <a:lvl1pPr>
              <a:lnSpc>
                <a:spcPct val="100000"/>
              </a:lnSpc>
              <a:spcAft>
                <a:spcPts val="600"/>
              </a:spcAft>
              <a:defRPr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200"/>
              </a:spcAft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200"/>
              </a:spcAft>
              <a:buNone/>
              <a:defRPr>
                <a:solidFill>
                  <a:schemeClr val="bg1"/>
                </a:solidFill>
              </a:defRPr>
            </a:lvl9pPr>
          </a:lstStyle>
          <a:p>
            <a:pPr>
              <a:spcAft>
                <a:spcPts val="200"/>
              </a:spcAft>
            </a:pPr>
            <a:r>
              <a:rPr lang="de-DE" dirty="0">
                <a:latin typeface="+mn-lt"/>
              </a:rPr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41471853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hteck 27">
            <a:extLst>
              <a:ext uri="{FF2B5EF4-FFF2-40B4-BE49-F238E27FC236}">
                <a16:creationId xmlns:a16="http://schemas.microsoft.com/office/drawing/2014/main" id="{CBEC2E3F-C1EA-43E3-80B7-F0D44312486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A1017C2-DBB3-4119-99A7-970AB05DF8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2000" y="2205004"/>
            <a:ext cx="2452935" cy="24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518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3793">
          <p15:clr>
            <a:srgbClr val="5ACBF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 zum Druc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B89EB33F-AD6E-4F8D-AC4C-EAB59AC700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2000" y="2205004"/>
            <a:ext cx="2452935" cy="24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261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orient="horz" pos="3793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A371E709-3B21-4C18-8A08-88D687D795E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89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59150" y="1340768"/>
            <a:ext cx="4537075" cy="1655478"/>
          </a:xfrm>
        </p:spPr>
        <p:txBody>
          <a:bodyPr anchor="b"/>
          <a:lstStyle>
            <a:lvl1pPr algn="l">
              <a:lnSpc>
                <a:spcPct val="90000"/>
              </a:lnSpc>
              <a:spcBef>
                <a:spcPts val="0"/>
              </a:spcBef>
              <a:defRPr sz="4000" b="1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59150" y="3573176"/>
            <a:ext cx="4537075" cy="144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dirty="0"/>
              <a:t>Untertitel der Präsentation</a:t>
            </a:r>
            <a:br>
              <a:rPr lang="de-DE" dirty="0"/>
            </a:br>
            <a:r>
              <a:rPr lang="de-DE" dirty="0"/>
              <a:t>(in 1-2 Zeilen)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147366A-AF80-4876-A258-9ABD39B636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359820"/>
            <a:ext cx="2519363" cy="1584325"/>
          </a:xfrm>
        </p:spPr>
        <p:txBody>
          <a:bodyPr tIns="144000" anchor="ctr" anchorCtr="0"/>
          <a:lstStyle>
            <a:lvl1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1pPr>
            <a:lvl2pPr marL="0" indent="0" algn="r">
              <a:spcAft>
                <a:spcPts val="0"/>
              </a:spcAft>
              <a:buFont typeface="Arial" panose="020B0604020202020204" pitchFamily="34" charset="0"/>
              <a:buNone/>
              <a:defRPr sz="13800" b="1">
                <a:solidFill>
                  <a:schemeClr val="bg1"/>
                </a:solidFill>
                <a:latin typeface="+mj-lt"/>
              </a:defRPr>
            </a:lvl2pPr>
            <a:lvl3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3pPr>
            <a:lvl4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4pPr>
            <a:lvl5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5pPr>
            <a:lvl6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6pPr>
            <a:lvl7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7pPr>
            <a:lvl8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8pPr>
            <a:lvl9pPr marL="0" indent="0" algn="r">
              <a:spcAft>
                <a:spcPts val="0"/>
              </a:spcAft>
              <a:buNone/>
              <a:defRPr sz="138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</a:t>
            </a:r>
          </a:p>
          <a:p>
            <a:pPr lvl="6"/>
            <a:r>
              <a:rPr lang="de-DE" dirty="0"/>
              <a:t>Sieben</a:t>
            </a:r>
          </a:p>
          <a:p>
            <a:pPr lvl="7"/>
            <a:r>
              <a:rPr lang="de-DE" dirty="0"/>
              <a:t>Acht</a:t>
            </a:r>
          </a:p>
          <a:p>
            <a:pPr lvl="8"/>
            <a:r>
              <a:rPr lang="de-DE" dirty="0"/>
              <a:t>Neu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62EF2F3-AE5D-4BD1-B244-0252E5F5621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8183562" y="0"/>
            <a:ext cx="4008437" cy="6857999"/>
          </a:xfrm>
          <a:solidFill>
            <a:schemeClr val="bg1">
              <a:lumMod val="95000"/>
            </a:schemeClr>
          </a:solidFill>
        </p:spPr>
        <p:txBody>
          <a:bodyPr tIns="0" bIns="864000" anchor="ctr"/>
          <a:lstStyle>
            <a:lvl1pPr algn="ctr"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60438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oleObject" Target="../embeddings/oleObject20.bin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tags" Target="../tags/tag23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vmlDrawing" Target="../drawings/vmlDrawing20.vml"/><Relationship Id="rId8" Type="http://schemas.openxmlformats.org/officeDocument/2006/relationships/slideLayout" Target="../slideLayouts/slideLayout3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26" Type="http://schemas.openxmlformats.org/officeDocument/2006/relationships/slideLayout" Target="../slideLayouts/slideLayout83.xml"/><Relationship Id="rId3" Type="http://schemas.openxmlformats.org/officeDocument/2006/relationships/slideLayout" Target="../slideLayouts/slideLayout60.xml"/><Relationship Id="rId21" Type="http://schemas.openxmlformats.org/officeDocument/2006/relationships/slideLayout" Target="../slideLayouts/slideLayout78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slideLayout" Target="../slideLayouts/slideLayout82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77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81.xml"/><Relationship Id="rId32" Type="http://schemas.openxmlformats.org/officeDocument/2006/relationships/oleObject" Target="../embeddings/oleObject39.bin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28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31" Type="http://schemas.openxmlformats.org/officeDocument/2006/relationships/tags" Target="../tags/tag44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Relationship Id="rId27" Type="http://schemas.openxmlformats.org/officeDocument/2006/relationships/slideLayout" Target="../slideLayouts/slideLayout84.xml"/><Relationship Id="rId30" Type="http://schemas.openxmlformats.org/officeDocument/2006/relationships/vmlDrawing" Target="../drawings/vmlDrawing39.vml"/><Relationship Id="rId8" Type="http://schemas.openxmlformats.org/officeDocument/2006/relationships/slideLayout" Target="../slideLayouts/slideLayout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6A8C11E-A4FB-46CD-B4A5-E93B19F627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320647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" name="think-cell Folie" r:id="rId33" imgW="415" imgH="416" progId="TCLayout.ActiveDocument.1">
                  <p:embed/>
                </p:oleObj>
              </mc:Choice>
              <mc:Fallback>
                <p:oleObj name="think-cell Folie" r:id="rId33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6A8C11E-A4FB-46CD-B4A5-E93B19F62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07988" y="1557338"/>
            <a:ext cx="11376025" cy="44640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A232406-5D1F-4019-A1B4-D1FE1B8E5B2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07988" y="6525368"/>
            <a:ext cx="864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0422BFB-FDCF-40DF-8706-BE2DD1303A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631376" y="6525368"/>
            <a:ext cx="5616624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55CFDEC0-FDC8-4458-9278-C1E1E7F898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525368"/>
            <a:ext cx="36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>
                <a:solidFill>
                  <a:schemeClr val="tx1"/>
                </a:solidFill>
              </a:defRPr>
            </a:lvl1pPr>
          </a:lstStyle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A615A0EE-8B49-4970-8F31-54CAB8753562}"/>
              </a:ext>
            </a:extLst>
          </p:cNvPr>
          <p:cNvGrpSpPr/>
          <p:nvPr userDrawn="1"/>
        </p:nvGrpSpPr>
        <p:grpSpPr bwMode="gray">
          <a:xfrm>
            <a:off x="407368" y="-132726"/>
            <a:ext cx="11377264" cy="72000"/>
            <a:chOff x="407368" y="-132726"/>
            <a:chExt cx="11377264" cy="72000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028BC2D0-DB4B-493D-B494-1587AF911805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407368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D3DDC106-3D96-492C-934E-5E56B69FA20C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4007768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FDC58F67-1BD0-4280-B265-2A51CDE1985C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4295800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AAC8661-90CE-4537-9100-7C5F573F93C8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5879976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23E55292-57DB-4CA8-9AC5-D138423FE4B8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6312024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37C332C-740E-4084-B28E-2D7E1E136C09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7896200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90FB4CB5-57B5-4C7A-9E6C-F430DE61AC00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8184232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36CF3DE2-72C5-4897-919E-99D960EC288F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1784632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55E74843-5C9A-4874-9485-7E29F159D522}"/>
              </a:ext>
            </a:extLst>
          </p:cNvPr>
          <p:cNvGrpSpPr/>
          <p:nvPr userDrawn="1"/>
        </p:nvGrpSpPr>
        <p:grpSpPr bwMode="gray">
          <a:xfrm>
            <a:off x="-122081" y="1556792"/>
            <a:ext cx="72000" cy="4464496"/>
            <a:chOff x="-168688" y="1556792"/>
            <a:chExt cx="72000" cy="4464496"/>
          </a:xfrm>
        </p:grpSpPr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08A42BF2-103F-44E0-B8D8-C6DDA6C7BA22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-168688" y="1556792"/>
              <a:ext cx="72000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7EDE62A2-BE72-466B-BFD7-D096F7A5E41A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-168688" y="6021288"/>
              <a:ext cx="72000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9861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87" r:id="rId2"/>
    <p:sldLayoutId id="2147483665" r:id="rId3"/>
    <p:sldLayoutId id="2147483688" r:id="rId4"/>
    <p:sldLayoutId id="2147483668" r:id="rId5"/>
    <p:sldLayoutId id="2147483683" r:id="rId6"/>
    <p:sldLayoutId id="2147483670" r:id="rId7"/>
    <p:sldLayoutId id="2147483689" r:id="rId8"/>
    <p:sldLayoutId id="2147483671" r:id="rId9"/>
    <p:sldLayoutId id="2147483690" r:id="rId10"/>
    <p:sldLayoutId id="2147483650" r:id="rId11"/>
    <p:sldLayoutId id="2147483666" r:id="rId12"/>
    <p:sldLayoutId id="2147483667" r:id="rId13"/>
    <p:sldLayoutId id="2147483674" r:id="rId14"/>
    <p:sldLayoutId id="2147483673" r:id="rId15"/>
    <p:sldLayoutId id="2147483654" r:id="rId16"/>
    <p:sldLayoutId id="2147483692" r:id="rId17"/>
    <p:sldLayoutId id="2147483675" r:id="rId18"/>
    <p:sldLayoutId id="2147483676" r:id="rId19"/>
    <p:sldLayoutId id="2147483678" r:id="rId20"/>
    <p:sldLayoutId id="2147483679" r:id="rId21"/>
    <p:sldLayoutId id="2147483682" r:id="rId22"/>
    <p:sldLayoutId id="2147483680" r:id="rId23"/>
    <p:sldLayoutId id="2147483681" r:id="rId24"/>
    <p:sldLayoutId id="2147483694" r:id="rId25"/>
    <p:sldLayoutId id="2147483685" r:id="rId26"/>
    <p:sldLayoutId id="2147483655" r:id="rId27"/>
    <p:sldLayoutId id="2147483691" r:id="rId28"/>
    <p:sldLayoutId id="2147483695" r:id="rId29"/>
  </p:sldLayoutIdLs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1989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 userDrawn="1">
          <p15:clr>
            <a:srgbClr val="5ACBF0"/>
          </p15:clr>
        </p15:guide>
        <p15:guide id="12" pos="7423" userDrawn="1">
          <p15:clr>
            <a:srgbClr val="5ACBF0"/>
          </p15:clr>
        </p15:guide>
        <p15:guide id="13" orient="horz" pos="981" userDrawn="1">
          <p15:clr>
            <a:srgbClr val="5ACBF0"/>
          </p15:clr>
        </p15:guide>
        <p15:guide id="14" orient="horz" pos="3793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6A8C11E-A4FB-46CD-B4A5-E93B19F627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545357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0" name="think-cell Folie" r:id="rId32" imgW="415" imgH="416" progId="TCLayout.ActiveDocument.1">
                  <p:embed/>
                </p:oleObj>
              </mc:Choice>
              <mc:Fallback>
                <p:oleObj name="think-cell Folie" r:id="rId32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6A8C11E-A4FB-46CD-B4A5-E93B19F62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07988" y="1557338"/>
            <a:ext cx="11376025" cy="44640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A232406-5D1F-4019-A1B4-D1FE1B8E5B2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07988" y="6525368"/>
            <a:ext cx="864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0422BFB-FDCF-40DF-8706-BE2DD1303A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631376" y="6525368"/>
            <a:ext cx="5616624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55CFDEC0-FDC8-4458-9278-C1E1E7F898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525368"/>
            <a:ext cx="36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>
                <a:solidFill>
                  <a:schemeClr val="tx1"/>
                </a:solidFill>
              </a:defRPr>
            </a:lvl1pPr>
          </a:lstStyle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A615A0EE-8B49-4970-8F31-54CAB8753562}"/>
              </a:ext>
            </a:extLst>
          </p:cNvPr>
          <p:cNvGrpSpPr/>
          <p:nvPr userDrawn="1"/>
        </p:nvGrpSpPr>
        <p:grpSpPr bwMode="gray">
          <a:xfrm>
            <a:off x="407368" y="-132726"/>
            <a:ext cx="11377264" cy="72000"/>
            <a:chOff x="407368" y="-132726"/>
            <a:chExt cx="11377264" cy="72000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028BC2D0-DB4B-493D-B494-1587AF911805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407368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D3DDC106-3D96-492C-934E-5E56B69FA20C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4007768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FDC58F67-1BD0-4280-B265-2A51CDE1985C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4295800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AAC8661-90CE-4537-9100-7C5F573F93C8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5879976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23E55292-57DB-4CA8-9AC5-D138423FE4B8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6312024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37C332C-740E-4084-B28E-2D7E1E136C09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7896200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90FB4CB5-57B5-4C7A-9E6C-F430DE61AC00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8184232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36CF3DE2-72C5-4897-919E-99D960EC288F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1784632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55E74843-5C9A-4874-9485-7E29F159D522}"/>
              </a:ext>
            </a:extLst>
          </p:cNvPr>
          <p:cNvGrpSpPr/>
          <p:nvPr userDrawn="1"/>
        </p:nvGrpSpPr>
        <p:grpSpPr bwMode="gray">
          <a:xfrm>
            <a:off x="-122081" y="1556792"/>
            <a:ext cx="72000" cy="4464496"/>
            <a:chOff x="-168688" y="1556792"/>
            <a:chExt cx="72000" cy="4464496"/>
          </a:xfrm>
        </p:grpSpPr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08A42BF2-103F-44E0-B8D8-C6DDA6C7BA22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-168688" y="1556792"/>
              <a:ext cx="72000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7EDE62A2-BE72-466B-BFD7-D096F7A5E41A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-168688" y="6021288"/>
              <a:ext cx="72000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95400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722" r:id="rId22"/>
    <p:sldLayoutId id="2147483723" r:id="rId23"/>
    <p:sldLayoutId id="2147483724" r:id="rId24"/>
    <p:sldLayoutId id="2147483725" r:id="rId25"/>
    <p:sldLayoutId id="2147483726" r:id="rId26"/>
    <p:sldLayoutId id="2147483727" r:id="rId27"/>
    <p:sldLayoutId id="2147483728" r:id="rId28"/>
  </p:sldLayoutIdLs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1989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>
          <p15:clr>
            <a:srgbClr val="5ACBF0"/>
          </p15:clr>
        </p15:guide>
        <p15:guide id="12" pos="7423">
          <p15:clr>
            <a:srgbClr val="5ACBF0"/>
          </p15:clr>
        </p15:guide>
        <p15:guide id="13" orient="horz" pos="981">
          <p15:clr>
            <a:srgbClr val="5ACBF0"/>
          </p15:clr>
        </p15:guide>
        <p15:guide id="14" orient="horz" pos="3793">
          <p15:clr>
            <a:srgbClr val="5ACBF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6A8C11E-A4FB-46CD-B4A5-E93B19F627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630350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69" name="think-cell Folie" r:id="rId32" imgW="415" imgH="416" progId="TCLayout.ActiveDocument.1">
                  <p:embed/>
                </p:oleObj>
              </mc:Choice>
              <mc:Fallback>
                <p:oleObj name="think-cell Folie" r:id="rId32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6A8C11E-A4FB-46CD-B4A5-E93B19F627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07988" y="1557338"/>
            <a:ext cx="11376025" cy="44640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A232406-5D1F-4019-A1B4-D1FE1B8E5B2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07988" y="6525368"/>
            <a:ext cx="864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pPr algn="l"/>
            <a:r>
              <a:rPr lang="de-DE"/>
              <a:t>X. Monat 202X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0422BFB-FDCF-40DF-8706-BE2DD1303A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631376" y="6525368"/>
            <a:ext cx="5616624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de-DE"/>
              <a:t>PowerPoint Master</a:t>
            </a:r>
            <a:endParaRPr lang="de-DE" b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55CFDEC0-FDC8-4458-9278-C1E1E7F898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24013" y="6525368"/>
            <a:ext cx="36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>
                <a:solidFill>
                  <a:schemeClr val="tx1"/>
                </a:solidFill>
              </a:defRPr>
            </a:lvl1pPr>
          </a:lstStyle>
          <a:p>
            <a:pPr algn="r"/>
            <a:fld id="{8CFDFCC3-8B40-4EE5-B231-005F2F1C6A68}" type="slidenum">
              <a:rPr lang="de-DE" smtClean="0"/>
              <a:pPr algn="r"/>
              <a:t>‹#›</a:t>
            </a:fld>
            <a:endParaRPr lang="de-DE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A615A0EE-8B49-4970-8F31-54CAB8753562}"/>
              </a:ext>
            </a:extLst>
          </p:cNvPr>
          <p:cNvGrpSpPr/>
          <p:nvPr userDrawn="1"/>
        </p:nvGrpSpPr>
        <p:grpSpPr bwMode="gray">
          <a:xfrm>
            <a:off x="407368" y="-132726"/>
            <a:ext cx="11377264" cy="72000"/>
            <a:chOff x="407368" y="-132726"/>
            <a:chExt cx="11377264" cy="72000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028BC2D0-DB4B-493D-B494-1587AF911805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407368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D3DDC106-3D96-492C-934E-5E56B69FA20C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4007768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FDC58F67-1BD0-4280-B265-2A51CDE1985C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4295800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AAC8661-90CE-4537-9100-7C5F573F93C8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5879976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23E55292-57DB-4CA8-9AC5-D138423FE4B8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6312024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237C332C-740E-4084-B28E-2D7E1E136C09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7896200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90FB4CB5-57B5-4C7A-9E6C-F430DE61AC00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8184232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36CF3DE2-72C5-4897-919E-99D960EC288F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11784632" y="-132726"/>
              <a:ext cx="0" cy="7200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55E74843-5C9A-4874-9485-7E29F159D522}"/>
              </a:ext>
            </a:extLst>
          </p:cNvPr>
          <p:cNvGrpSpPr/>
          <p:nvPr userDrawn="1"/>
        </p:nvGrpSpPr>
        <p:grpSpPr bwMode="gray">
          <a:xfrm>
            <a:off x="-122081" y="1556792"/>
            <a:ext cx="72000" cy="4464496"/>
            <a:chOff x="-168688" y="1556792"/>
            <a:chExt cx="72000" cy="4464496"/>
          </a:xfrm>
        </p:grpSpPr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08A42BF2-103F-44E0-B8D8-C6DDA6C7BA22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-168688" y="1556792"/>
              <a:ext cx="72000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>
              <a:extLst>
                <a:ext uri="{FF2B5EF4-FFF2-40B4-BE49-F238E27FC236}">
                  <a16:creationId xmlns:a16="http://schemas.microsoft.com/office/drawing/2014/main" id="{7EDE62A2-BE72-466B-BFD7-D096F7A5E41A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-168688" y="6021288"/>
              <a:ext cx="72000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6597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  <p:sldLayoutId id="2147483742" r:id="rId13"/>
    <p:sldLayoutId id="2147483743" r:id="rId14"/>
    <p:sldLayoutId id="2147483744" r:id="rId15"/>
    <p:sldLayoutId id="2147483745" r:id="rId16"/>
    <p:sldLayoutId id="2147483746" r:id="rId17"/>
    <p:sldLayoutId id="2147483747" r:id="rId18"/>
    <p:sldLayoutId id="2147483748" r:id="rId19"/>
    <p:sldLayoutId id="2147483749" r:id="rId20"/>
    <p:sldLayoutId id="2147483750" r:id="rId21"/>
    <p:sldLayoutId id="2147483751" r:id="rId22"/>
    <p:sldLayoutId id="2147483752" r:id="rId23"/>
    <p:sldLayoutId id="2147483753" r:id="rId24"/>
    <p:sldLayoutId id="2147483754" r:id="rId25"/>
    <p:sldLayoutId id="2147483755" r:id="rId26"/>
    <p:sldLayoutId id="2147483756" r:id="rId27"/>
    <p:sldLayoutId id="2147483757" r:id="rId28"/>
  </p:sldLayoutIdLst>
  <p:hf hdr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1989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864000" indent="-21600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Lidl Font Pro" panose="02000000000000000000" pitchFamily="2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>
          <p15:clr>
            <a:srgbClr val="5ACBF0"/>
          </p15:clr>
        </p15:guide>
        <p15:guide id="12" pos="7423">
          <p15:clr>
            <a:srgbClr val="5ACBF0"/>
          </p15:clr>
        </p15:guide>
        <p15:guide id="13" orient="horz" pos="981">
          <p15:clr>
            <a:srgbClr val="5ACBF0"/>
          </p15:clr>
        </p15:guide>
        <p15:guide id="14" orient="horz" pos="3793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slideLayout" Target="../slideLayouts/slideLayout40.xml"/><Relationship Id="rId3" Type="http://schemas.openxmlformats.org/officeDocument/2006/relationships/tags" Target="../tags/tag84.xml"/><Relationship Id="rId21" Type="http://schemas.openxmlformats.org/officeDocument/2006/relationships/image" Target="../media/image20.emf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0" Type="http://schemas.openxmlformats.org/officeDocument/2006/relationships/oleObject" Target="../embeddings/oleObject59.bin"/><Relationship Id="rId1" Type="http://schemas.openxmlformats.org/officeDocument/2006/relationships/vmlDrawing" Target="../drawings/vmlDrawing59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10" Type="http://schemas.openxmlformats.org/officeDocument/2006/relationships/tags" Target="../tags/tag91.xml"/><Relationship Id="rId19" Type="http://schemas.openxmlformats.org/officeDocument/2006/relationships/notesSlide" Target="../notesSlides/notesSlide8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2" Type="http://schemas.openxmlformats.org/officeDocument/2006/relationships/tags" Target="../tags/tag99.xml"/><Relationship Id="rId1" Type="http://schemas.openxmlformats.org/officeDocument/2006/relationships/vmlDrawing" Target="../drawings/vmlDrawing60.vml"/><Relationship Id="rId6" Type="http://schemas.openxmlformats.org/officeDocument/2006/relationships/tags" Target="../tags/tag103.xml"/><Relationship Id="rId11" Type="http://schemas.openxmlformats.org/officeDocument/2006/relationships/image" Target="../media/image1.emf"/><Relationship Id="rId5" Type="http://schemas.openxmlformats.org/officeDocument/2006/relationships/tags" Target="../tags/tag102.xml"/><Relationship Id="rId10" Type="http://schemas.openxmlformats.org/officeDocument/2006/relationships/oleObject" Target="../embeddings/oleObject60.bin"/><Relationship Id="rId4" Type="http://schemas.openxmlformats.org/officeDocument/2006/relationships/tags" Target="../tags/tag101.xml"/><Relationship Id="rId9" Type="http://schemas.openxmlformats.org/officeDocument/2006/relationships/notesSlide" Target="../notesSlides/notesSlide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10.png"/><Relationship Id="rId4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tags" Target="../tags/tag79.xml"/><Relationship Id="rId18" Type="http://schemas.openxmlformats.org/officeDocument/2006/relationships/image" Target="../media/image12.png"/><Relationship Id="rId3" Type="http://schemas.openxmlformats.org/officeDocument/2006/relationships/tags" Target="../tags/tag69.xml"/><Relationship Id="rId21" Type="http://schemas.openxmlformats.org/officeDocument/2006/relationships/image" Target="../media/image15.png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17" Type="http://schemas.openxmlformats.org/officeDocument/2006/relationships/image" Target="../media/image11.emf"/><Relationship Id="rId2" Type="http://schemas.openxmlformats.org/officeDocument/2006/relationships/tags" Target="../tags/tag68.xml"/><Relationship Id="rId16" Type="http://schemas.openxmlformats.org/officeDocument/2006/relationships/oleObject" Target="../embeddings/oleObject58.bin"/><Relationship Id="rId20" Type="http://schemas.openxmlformats.org/officeDocument/2006/relationships/image" Target="../media/image14.png"/><Relationship Id="rId1" Type="http://schemas.openxmlformats.org/officeDocument/2006/relationships/vmlDrawing" Target="../drawings/vmlDrawing58.v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5" Type="http://schemas.openxmlformats.org/officeDocument/2006/relationships/tags" Target="../tags/tag71.xml"/><Relationship Id="rId15" Type="http://schemas.openxmlformats.org/officeDocument/2006/relationships/notesSlide" Target="../notesSlides/notesSlide1.xml"/><Relationship Id="rId10" Type="http://schemas.openxmlformats.org/officeDocument/2006/relationships/tags" Target="../tags/tag76.xml"/><Relationship Id="rId19" Type="http://schemas.openxmlformats.org/officeDocument/2006/relationships/image" Target="../media/image13.png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microsoft.com/office/2007/relationships/diagramDrawing" Target="../diagrams/drawing2.xml"/><Relationship Id="rId3" Type="http://schemas.openxmlformats.org/officeDocument/2006/relationships/notesSlide" Target="../notesSlides/notesSlide2.xml"/><Relationship Id="rId7" Type="http://schemas.openxmlformats.org/officeDocument/2006/relationships/diagramColors" Target="../diagrams/colors1.xml"/><Relationship Id="rId12" Type="http://schemas.openxmlformats.org/officeDocument/2006/relationships/diagramColors" Target="../diagrams/colors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0.xml"/><Relationship Id="rId6" Type="http://schemas.openxmlformats.org/officeDocument/2006/relationships/diagramQuickStyle" Target="../diagrams/quickStyle1.xml"/><Relationship Id="rId11" Type="http://schemas.openxmlformats.org/officeDocument/2006/relationships/diagramQuickStyle" Target="../diagrams/quickStyle2.xml"/><Relationship Id="rId5" Type="http://schemas.openxmlformats.org/officeDocument/2006/relationships/diagramLayout" Target="../diagrams/layout1.xml"/><Relationship Id="rId10" Type="http://schemas.openxmlformats.org/officeDocument/2006/relationships/diagramLayout" Target="../diagrams/layout2.xml"/><Relationship Id="rId4" Type="http://schemas.openxmlformats.org/officeDocument/2006/relationships/diagramData" Target="../diagrams/data1.xml"/><Relationship Id="rId9" Type="http://schemas.openxmlformats.org/officeDocument/2006/relationships/diagramData" Target="../diagrams/data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gif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el 23">
            <a:extLst>
              <a:ext uri="{FF2B5EF4-FFF2-40B4-BE49-F238E27FC236}">
                <a16:creationId xmlns:a16="http://schemas.microsoft.com/office/drawing/2014/main" id="{1E815EF4-BF5F-422F-97BC-7D214F6CC1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43472" y="1557339"/>
            <a:ext cx="8856000" cy="1655478"/>
          </a:xfrm>
        </p:spPr>
        <p:txBody>
          <a:bodyPr/>
          <a:lstStyle/>
          <a:p>
            <a:r>
              <a:rPr lang="sk-SK" dirty="0"/>
              <a:t>Duálne vzdelávanie</a:t>
            </a:r>
            <a:endParaRPr lang="de-DE" dirty="0"/>
          </a:p>
        </p:txBody>
      </p:sp>
      <p:sp>
        <p:nvSpPr>
          <p:cNvPr id="25" name="Untertitel 24">
            <a:extLst>
              <a:ext uri="{FF2B5EF4-FFF2-40B4-BE49-F238E27FC236}">
                <a16:creationId xmlns:a16="http://schemas.microsoft.com/office/drawing/2014/main" id="{6C46731B-C4B5-40A2-B1D3-1E4F79C3AC4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3472" y="3357152"/>
            <a:ext cx="8856000" cy="1440000"/>
          </a:xfrm>
        </p:spPr>
        <p:txBody>
          <a:bodyPr/>
          <a:lstStyle/>
          <a:p>
            <a:r>
              <a:rPr lang="sk-SK" dirty="0"/>
              <a:t>Spoločnosť Lidl </a:t>
            </a:r>
            <a:endParaRPr lang="de-DE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BEB86533-FF6D-4200-BE87-A67B627EDB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43472" y="5733296"/>
            <a:ext cx="6912018" cy="360000"/>
          </a:xfrm>
        </p:spPr>
        <p:txBody>
          <a:bodyPr/>
          <a:lstStyle/>
          <a:p>
            <a:r>
              <a:rPr lang="sk-SK" dirty="0"/>
              <a:t>Bratislava</a:t>
            </a:r>
            <a:r>
              <a:rPr lang="de-DE" dirty="0"/>
              <a:t>, </a:t>
            </a:r>
            <a:r>
              <a:rPr lang="sk-SK" dirty="0"/>
              <a:t>február</a:t>
            </a:r>
            <a:r>
              <a:rPr lang="de-DE" dirty="0"/>
              <a:t> 202</a:t>
            </a:r>
            <a:r>
              <a:rPr lang="sk-SK" dirty="0"/>
              <a:t>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23448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čísla snímky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Nadpis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Aké možnosti dualistom po skončení SOŠ ponúkame</a:t>
            </a:r>
          </a:p>
        </p:txBody>
      </p:sp>
      <p:sp>
        <p:nvSpPr>
          <p:cNvPr id="7" name="Zástupný symbol textu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sk-SK" dirty="0"/>
              <a:t>Duálne vzdelávanie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64EC5F9C-F4E3-4635-8147-4ED79A08A44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9106137"/>
              </p:ext>
            </p:extLst>
          </p:nvPr>
        </p:nvGraphicFramePr>
        <p:xfrm>
          <a:off x="635832" y="1549225"/>
          <a:ext cx="6245595" cy="45679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41" name="Skupina 40">
            <a:extLst>
              <a:ext uri="{FF2B5EF4-FFF2-40B4-BE49-F238E27FC236}">
                <a16:creationId xmlns:a16="http://schemas.microsoft.com/office/drawing/2014/main" id="{C91CEF4A-6D43-42DB-AA6D-9D29B90B34F5}"/>
              </a:ext>
            </a:extLst>
          </p:cNvPr>
          <p:cNvGrpSpPr/>
          <p:nvPr/>
        </p:nvGrpSpPr>
        <p:grpSpPr>
          <a:xfrm>
            <a:off x="6676066" y="2254250"/>
            <a:ext cx="4063791" cy="2326750"/>
            <a:chOff x="4873309" y="2303898"/>
            <a:chExt cx="3047843" cy="1745062"/>
          </a:xfrm>
        </p:grpSpPr>
        <p:grpSp>
          <p:nvGrpSpPr>
            <p:cNvPr id="6" name="Skupina 5">
              <a:extLst>
                <a:ext uri="{FF2B5EF4-FFF2-40B4-BE49-F238E27FC236}">
                  <a16:creationId xmlns:a16="http://schemas.microsoft.com/office/drawing/2014/main" id="{2C0EE860-7DA5-4A24-961B-2C06C73C6FA9}"/>
                </a:ext>
              </a:extLst>
            </p:cNvPr>
            <p:cNvGrpSpPr/>
            <p:nvPr/>
          </p:nvGrpSpPr>
          <p:grpSpPr>
            <a:xfrm>
              <a:off x="6175939" y="2303898"/>
              <a:ext cx="1745213" cy="1745062"/>
              <a:chOff x="6282098" y="2330248"/>
              <a:chExt cx="2321222" cy="2033094"/>
            </a:xfrm>
          </p:grpSpPr>
          <p:sp>
            <p:nvSpPr>
              <p:cNvPr id="20" name="Obdĺžnik: zaoblené rohy 19">
                <a:extLst>
                  <a:ext uri="{FF2B5EF4-FFF2-40B4-BE49-F238E27FC236}">
                    <a16:creationId xmlns:a16="http://schemas.microsoft.com/office/drawing/2014/main" id="{1380F645-8A5E-4C75-8AD3-1FF7B54B11D7}"/>
                  </a:ext>
                </a:extLst>
              </p:cNvPr>
              <p:cNvSpPr/>
              <p:nvPr/>
            </p:nvSpPr>
            <p:spPr>
              <a:xfrm>
                <a:off x="6700160" y="2330248"/>
                <a:ext cx="1902620" cy="801687"/>
              </a:xfrm>
              <a:prstGeom prst="roundRect">
                <a:avLst>
                  <a:gd name="adj" fmla="val 10000"/>
                </a:avLst>
              </a:prstGeom>
              <a:solidFill>
                <a:schemeClr val="tx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sk-SK" dirty="0"/>
                  <a:t>ZMP / MP / RM</a:t>
                </a:r>
              </a:p>
            </p:txBody>
          </p:sp>
          <p:grpSp>
            <p:nvGrpSpPr>
              <p:cNvPr id="22" name="Skupina 21">
                <a:extLst>
                  <a:ext uri="{FF2B5EF4-FFF2-40B4-BE49-F238E27FC236}">
                    <a16:creationId xmlns:a16="http://schemas.microsoft.com/office/drawing/2014/main" id="{C73912B2-92DB-4EE7-AE79-DF2283DEF08F}"/>
                  </a:ext>
                </a:extLst>
              </p:cNvPr>
              <p:cNvGrpSpPr/>
              <p:nvPr/>
            </p:nvGrpSpPr>
            <p:grpSpPr>
              <a:xfrm rot="1375728">
                <a:off x="6282099" y="2518946"/>
                <a:ext cx="50519" cy="1010387"/>
                <a:chOff x="3726563" y="509457"/>
                <a:chExt cx="50519" cy="1010387"/>
              </a:xfrm>
            </p:grpSpPr>
            <p:sp>
              <p:nvSpPr>
                <p:cNvPr id="23" name="Rovná spojnica 3">
                  <a:extLst>
                    <a:ext uri="{FF2B5EF4-FFF2-40B4-BE49-F238E27FC236}">
                      <a16:creationId xmlns:a16="http://schemas.microsoft.com/office/drawing/2014/main" id="{1120D120-93A3-4663-8C9C-09A019B066C8}"/>
                    </a:ext>
                  </a:extLst>
                </p:cNvPr>
                <p:cNvSpPr/>
                <p:nvPr/>
              </p:nvSpPr>
              <p:spPr>
                <a:xfrm rot="18289469">
                  <a:off x="3246629" y="997051"/>
                  <a:ext cx="1010387" cy="3520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0" y="17600"/>
                      </a:moveTo>
                      <a:lnTo>
                        <a:pt x="1010387" y="17600"/>
                      </a:lnTo>
                    </a:path>
                  </a:pathLst>
                </a:custGeom>
                <a:noFill/>
              </p:spPr>
              <p:style>
                <a:lnRef idx="2">
                  <a:schemeClr val="accent1">
                    <a:shade val="8000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24" name="Rovná spojnica 4">
                  <a:extLst>
                    <a:ext uri="{FF2B5EF4-FFF2-40B4-BE49-F238E27FC236}">
                      <a16:creationId xmlns:a16="http://schemas.microsoft.com/office/drawing/2014/main" id="{2DDE0C20-8229-42CC-B8A1-2801D3AFE704}"/>
                    </a:ext>
                  </a:extLst>
                </p:cNvPr>
                <p:cNvSpPr txBox="1"/>
                <p:nvPr/>
              </p:nvSpPr>
              <p:spPr>
                <a:xfrm rot="18289469">
                  <a:off x="3726563" y="989391"/>
                  <a:ext cx="50519" cy="50519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16933" tIns="0" rIns="16933" bIns="0" numCol="1" spcCol="1270" anchor="ctr" anchorCtr="0">
                  <a:noAutofit/>
                </a:bodyPr>
                <a:lstStyle/>
                <a:p>
                  <a:pPr algn="ctr" defTabSz="296326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sk-SK" sz="1333"/>
                </a:p>
              </p:txBody>
            </p:sp>
          </p:grpSp>
          <p:grpSp>
            <p:nvGrpSpPr>
              <p:cNvPr id="25" name="Skupina 24">
                <a:extLst>
                  <a:ext uri="{FF2B5EF4-FFF2-40B4-BE49-F238E27FC236}">
                    <a16:creationId xmlns:a16="http://schemas.microsoft.com/office/drawing/2014/main" id="{7A212B50-3326-458F-B552-D4FFEA0E0571}"/>
                  </a:ext>
                </a:extLst>
              </p:cNvPr>
              <p:cNvGrpSpPr/>
              <p:nvPr/>
            </p:nvGrpSpPr>
            <p:grpSpPr>
              <a:xfrm rot="20304784">
                <a:off x="6282098" y="3121674"/>
                <a:ext cx="50519" cy="1010387"/>
                <a:chOff x="3726563" y="1338889"/>
                <a:chExt cx="50519" cy="1010387"/>
              </a:xfrm>
            </p:grpSpPr>
            <p:sp>
              <p:nvSpPr>
                <p:cNvPr id="26" name="Rovná spojnica 3">
                  <a:extLst>
                    <a:ext uri="{FF2B5EF4-FFF2-40B4-BE49-F238E27FC236}">
                      <a16:creationId xmlns:a16="http://schemas.microsoft.com/office/drawing/2014/main" id="{4D801B11-2A7D-4AB3-A360-6014FB5FFC30}"/>
                    </a:ext>
                  </a:extLst>
                </p:cNvPr>
                <p:cNvSpPr/>
                <p:nvPr/>
              </p:nvSpPr>
              <p:spPr>
                <a:xfrm rot="3310531">
                  <a:off x="3246629" y="1826483"/>
                  <a:ext cx="1010387" cy="3520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0" y="17600"/>
                      </a:moveTo>
                      <a:lnTo>
                        <a:pt x="1010387" y="17600"/>
                      </a:lnTo>
                    </a:path>
                  </a:pathLst>
                </a:custGeom>
                <a:noFill/>
              </p:spPr>
              <p:style>
                <a:lnRef idx="2">
                  <a:schemeClr val="accent1">
                    <a:shade val="8000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27" name="Rovná spojnica 4">
                  <a:extLst>
                    <a:ext uri="{FF2B5EF4-FFF2-40B4-BE49-F238E27FC236}">
                      <a16:creationId xmlns:a16="http://schemas.microsoft.com/office/drawing/2014/main" id="{DBAAE356-3DAC-4517-805A-BBB4FF07C16D}"/>
                    </a:ext>
                  </a:extLst>
                </p:cNvPr>
                <p:cNvSpPr txBox="1"/>
                <p:nvPr/>
              </p:nvSpPr>
              <p:spPr>
                <a:xfrm rot="3310531">
                  <a:off x="3726563" y="1818824"/>
                  <a:ext cx="50519" cy="50519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16933" tIns="0" rIns="16933" bIns="0" numCol="1" spcCol="1270" anchor="ctr" anchorCtr="0">
                  <a:noAutofit/>
                </a:bodyPr>
                <a:lstStyle/>
                <a:p>
                  <a:pPr algn="ctr" defTabSz="296326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sk-SK" sz="1333"/>
                </a:p>
              </p:txBody>
            </p:sp>
          </p:grpSp>
          <p:sp>
            <p:nvSpPr>
              <p:cNvPr id="30" name="Obdĺžnik: zaoblené rohy 29">
                <a:extLst>
                  <a:ext uri="{FF2B5EF4-FFF2-40B4-BE49-F238E27FC236}">
                    <a16:creationId xmlns:a16="http://schemas.microsoft.com/office/drawing/2014/main" id="{78EA8FD0-1EF4-4744-A87D-4FD68B69699F}"/>
                  </a:ext>
                </a:extLst>
              </p:cNvPr>
              <p:cNvSpPr/>
              <p:nvPr/>
            </p:nvSpPr>
            <p:spPr>
              <a:xfrm>
                <a:off x="6700700" y="3427238"/>
                <a:ext cx="1902620" cy="936104"/>
              </a:xfrm>
              <a:prstGeom prst="roundRect">
                <a:avLst>
                  <a:gd name="adj" fmla="val 10000"/>
                </a:avLst>
              </a:prstGeom>
              <a:solidFill>
                <a:schemeClr val="tx1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sk-SK" dirty="0"/>
                  <a:t>Admin ZC </a:t>
                </a:r>
                <a:br>
                  <a:rPr lang="sk-SK" dirty="0"/>
                </a:br>
                <a:r>
                  <a:rPr lang="sk-SK" dirty="0"/>
                  <a:t>DL / LC</a:t>
                </a:r>
              </a:p>
            </p:txBody>
          </p:sp>
        </p:grpSp>
        <p:grpSp>
          <p:nvGrpSpPr>
            <p:cNvPr id="32" name="Skupina 31">
              <a:extLst>
                <a:ext uri="{FF2B5EF4-FFF2-40B4-BE49-F238E27FC236}">
                  <a16:creationId xmlns:a16="http://schemas.microsoft.com/office/drawing/2014/main" id="{2BEAAC3C-6CA0-4C1C-BD76-46FEE540EC37}"/>
                </a:ext>
              </a:extLst>
            </p:cNvPr>
            <p:cNvGrpSpPr/>
            <p:nvPr/>
          </p:nvGrpSpPr>
          <p:grpSpPr>
            <a:xfrm rot="4717957">
              <a:off x="5302635" y="2585752"/>
              <a:ext cx="629933" cy="1488585"/>
              <a:chOff x="3183052" y="416061"/>
              <a:chExt cx="44270" cy="863081"/>
            </a:xfrm>
          </p:grpSpPr>
          <p:sp>
            <p:nvSpPr>
              <p:cNvPr id="33" name="Rovná spojnica 3">
                <a:extLst>
                  <a:ext uri="{FF2B5EF4-FFF2-40B4-BE49-F238E27FC236}">
                    <a16:creationId xmlns:a16="http://schemas.microsoft.com/office/drawing/2014/main" id="{455EDA12-582B-4123-8127-8ECA6A751C96}"/>
                  </a:ext>
                </a:extLst>
              </p:cNvPr>
              <p:cNvSpPr/>
              <p:nvPr/>
            </p:nvSpPr>
            <p:spPr>
              <a:xfrm rot="18289469">
                <a:off x="2777874" y="829694"/>
                <a:ext cx="863081" cy="35815"/>
              </a:xfrm>
              <a:custGeom>
                <a:avLst/>
                <a:gdLst/>
                <a:ahLst/>
                <a:cxnLst/>
                <a:rect l="0" t="0" r="0" b="0"/>
                <a:pathLst>
                  <a:path>
                    <a:moveTo>
                      <a:pt x="0" y="17907"/>
                    </a:moveTo>
                    <a:lnTo>
                      <a:pt x="863081" y="17907"/>
                    </a:lnTo>
                  </a:path>
                </a:pathLst>
              </a:custGeom>
              <a:noFill/>
            </p:spPr>
            <p:style>
              <a:lnRef idx="2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0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34" name="Rovná spojnica 4">
                <a:extLst>
                  <a:ext uri="{FF2B5EF4-FFF2-40B4-BE49-F238E27FC236}">
                    <a16:creationId xmlns:a16="http://schemas.microsoft.com/office/drawing/2014/main" id="{66B279AD-248F-4FA3-833E-FC25C445AD59}"/>
                  </a:ext>
                </a:extLst>
              </p:cNvPr>
              <p:cNvSpPr txBox="1"/>
              <p:nvPr/>
            </p:nvSpPr>
            <p:spPr>
              <a:xfrm rot="18289469">
                <a:off x="3183052" y="818087"/>
                <a:ext cx="43154" cy="43154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6933" tIns="0" rIns="16933" bIns="0" numCol="1" spcCol="1270" anchor="ctr" anchorCtr="0">
                <a:noAutofit/>
              </a:bodyPr>
              <a:lstStyle/>
              <a:p>
                <a:pPr algn="ctr" defTabSz="29632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sk-SK" sz="667"/>
              </a:p>
            </p:txBody>
          </p:sp>
        </p:grpSp>
      </p:grpSp>
      <p:grpSp>
        <p:nvGrpSpPr>
          <p:cNvPr id="35" name="Skupina 34">
            <a:extLst>
              <a:ext uri="{FF2B5EF4-FFF2-40B4-BE49-F238E27FC236}">
                <a16:creationId xmlns:a16="http://schemas.microsoft.com/office/drawing/2014/main" id="{3238680B-79F4-4878-91BE-AD9D9BD74DD9}"/>
              </a:ext>
            </a:extLst>
          </p:cNvPr>
          <p:cNvGrpSpPr/>
          <p:nvPr/>
        </p:nvGrpSpPr>
        <p:grpSpPr>
          <a:xfrm rot="12658249">
            <a:off x="6243938" y="2616063"/>
            <a:ext cx="818737" cy="1984780"/>
            <a:chOff x="3183052" y="408123"/>
            <a:chExt cx="43154" cy="863081"/>
          </a:xfrm>
        </p:grpSpPr>
        <p:sp>
          <p:nvSpPr>
            <p:cNvPr id="36" name="Rovná spojnica 3">
              <a:extLst>
                <a:ext uri="{FF2B5EF4-FFF2-40B4-BE49-F238E27FC236}">
                  <a16:creationId xmlns:a16="http://schemas.microsoft.com/office/drawing/2014/main" id="{2B7F21A0-BEFB-4957-8458-728A474B8D70}"/>
                </a:ext>
              </a:extLst>
            </p:cNvPr>
            <p:cNvSpPr/>
            <p:nvPr/>
          </p:nvSpPr>
          <p:spPr>
            <a:xfrm rot="18289469">
              <a:off x="2773088" y="821756"/>
              <a:ext cx="863081" cy="35815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17907"/>
                  </a:moveTo>
                  <a:lnTo>
                    <a:pt x="863081" y="17907"/>
                  </a:lnTo>
                </a:path>
              </a:pathLst>
            </a:custGeom>
            <a:noFill/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sk-SK" sz="2400" dirty="0"/>
            </a:p>
          </p:txBody>
        </p:sp>
        <p:sp>
          <p:nvSpPr>
            <p:cNvPr id="37" name="Rovná spojnica 4">
              <a:extLst>
                <a:ext uri="{FF2B5EF4-FFF2-40B4-BE49-F238E27FC236}">
                  <a16:creationId xmlns:a16="http://schemas.microsoft.com/office/drawing/2014/main" id="{904DDEF6-1EC5-4379-914C-B117C56A7E2D}"/>
                </a:ext>
              </a:extLst>
            </p:cNvPr>
            <p:cNvSpPr txBox="1"/>
            <p:nvPr/>
          </p:nvSpPr>
          <p:spPr>
            <a:xfrm rot="18289469">
              <a:off x="3183052" y="818087"/>
              <a:ext cx="43154" cy="4315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6933" tIns="0" rIns="16933" bIns="0" numCol="1" spcCol="1270" anchor="ctr" anchorCtr="0">
              <a:noAutofit/>
            </a:bodyPr>
            <a:lstStyle/>
            <a:p>
              <a:pPr algn="ctr" defTabSz="296326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k-SK" sz="667"/>
            </a:p>
          </p:txBody>
        </p:sp>
      </p:grpSp>
      <p:sp>
        <p:nvSpPr>
          <p:cNvPr id="38" name="Šípka: doprava 37">
            <a:extLst>
              <a:ext uri="{FF2B5EF4-FFF2-40B4-BE49-F238E27FC236}">
                <a16:creationId xmlns:a16="http://schemas.microsoft.com/office/drawing/2014/main" id="{C536CB30-1498-4BDF-80CE-FDC439E7DC47}"/>
              </a:ext>
            </a:extLst>
          </p:cNvPr>
          <p:cNvSpPr/>
          <p:nvPr/>
        </p:nvSpPr>
        <p:spPr bwMode="gray">
          <a:xfrm>
            <a:off x="7690973" y="3235901"/>
            <a:ext cx="475937" cy="335396"/>
          </a:xfrm>
          <a:prstGeom prst="rightArrow">
            <a:avLst/>
          </a:prstGeom>
          <a:solidFill>
            <a:schemeClr val="accent1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sz="2400" dirty="0" err="1">
              <a:solidFill>
                <a:schemeClr val="accent1"/>
              </a:solidFill>
            </a:endParaRPr>
          </a:p>
        </p:txBody>
      </p:sp>
      <p:sp>
        <p:nvSpPr>
          <p:cNvPr id="28" name="Šípka: doprava 27">
            <a:extLst>
              <a:ext uri="{FF2B5EF4-FFF2-40B4-BE49-F238E27FC236}">
                <a16:creationId xmlns:a16="http://schemas.microsoft.com/office/drawing/2014/main" id="{A069CA8A-B8A2-47F3-B6EB-DF2B836585C8}"/>
              </a:ext>
            </a:extLst>
          </p:cNvPr>
          <p:cNvSpPr/>
          <p:nvPr/>
        </p:nvSpPr>
        <p:spPr bwMode="gray">
          <a:xfrm rot="5400000">
            <a:off x="5737730" y="2245534"/>
            <a:ext cx="475937" cy="335396"/>
          </a:xfrm>
          <a:prstGeom prst="rightArrow">
            <a:avLst/>
          </a:prstGeom>
          <a:solidFill>
            <a:schemeClr val="accent1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sz="2400" dirty="0" err="1">
              <a:solidFill>
                <a:schemeClr val="accent1"/>
              </a:solidFill>
            </a:endParaRPr>
          </a:p>
        </p:txBody>
      </p:sp>
      <p:sp>
        <p:nvSpPr>
          <p:cNvPr id="29" name="Šípka: doprava 28">
            <a:extLst>
              <a:ext uri="{FF2B5EF4-FFF2-40B4-BE49-F238E27FC236}">
                <a16:creationId xmlns:a16="http://schemas.microsoft.com/office/drawing/2014/main" id="{9BE2CCB3-40F4-420A-B38A-ADA1158E03A8}"/>
              </a:ext>
            </a:extLst>
          </p:cNvPr>
          <p:cNvSpPr/>
          <p:nvPr/>
        </p:nvSpPr>
        <p:spPr bwMode="gray">
          <a:xfrm>
            <a:off x="10816512" y="2556303"/>
            <a:ext cx="475937" cy="335396"/>
          </a:xfrm>
          <a:prstGeom prst="rightArrow">
            <a:avLst/>
          </a:prstGeom>
          <a:solidFill>
            <a:schemeClr val="accent1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sz="2400" dirty="0" err="1">
              <a:solidFill>
                <a:schemeClr val="accent1"/>
              </a:solidFill>
            </a:endParaRPr>
          </a:p>
        </p:txBody>
      </p:sp>
      <p:sp>
        <p:nvSpPr>
          <p:cNvPr id="31" name="Šípka: doprava 30">
            <a:extLst>
              <a:ext uri="{FF2B5EF4-FFF2-40B4-BE49-F238E27FC236}">
                <a16:creationId xmlns:a16="http://schemas.microsoft.com/office/drawing/2014/main" id="{926C3C2E-EE01-4BAA-97A3-D8A54ACAB9D8}"/>
              </a:ext>
            </a:extLst>
          </p:cNvPr>
          <p:cNvSpPr/>
          <p:nvPr/>
        </p:nvSpPr>
        <p:spPr bwMode="gray">
          <a:xfrm>
            <a:off x="10811120" y="3834478"/>
            <a:ext cx="475937" cy="335396"/>
          </a:xfrm>
          <a:prstGeom prst="rightArrow">
            <a:avLst/>
          </a:prstGeom>
          <a:solidFill>
            <a:schemeClr val="accent1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sz="2400" dirty="0" err="1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7525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46" name="think-cell Folie" r:id="rId20" imgW="360" imgH="360" progId="TCLayout.ActiveDocument.1">
                  <p:embed/>
                </p:oleObj>
              </mc:Choice>
              <mc:Fallback>
                <p:oleObj name="think-cell Folie" r:id="rId20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E9728532-F3BF-4382-A48F-AF7C026A63D5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idl Font Pro" panose="02000000000000000000" pitchFamily="2" charset="0"/>
              <a:ea typeface="+mn-ea"/>
              <a:cs typeface="+mn-cs"/>
              <a:sym typeface="Lidl Font Pro" panose="02000000000000000000" pitchFamily="2" charset="0"/>
            </a:endParaRP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3F098391-415F-432F-82F3-082796BE8A24}"/>
              </a:ext>
            </a:extLst>
          </p:cNvPr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 bwMode="gray">
          <a:xfrm>
            <a:off x="407988" y="1557338"/>
            <a:ext cx="11376025" cy="4464049"/>
          </a:xfrm>
        </p:spPr>
        <p:txBody>
          <a:bodyPr/>
          <a:lstStyle/>
          <a:p>
            <a:r>
              <a:rPr lang="sk-SK" dirty="0"/>
              <a:t>Ako na to:</a:t>
            </a:r>
            <a:endParaRPr lang="de-DE" dirty="0"/>
          </a:p>
          <a:p>
            <a:pPr lvl="1"/>
            <a:r>
              <a:rPr lang="sk-SK" dirty="0"/>
              <a:t>Prihlásenie sa do duálneho vzdelávania nie je vôbec komplikované.</a:t>
            </a:r>
          </a:p>
          <a:p>
            <a:pPr lvl="1"/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07368" y="740776"/>
            <a:ext cx="11376000" cy="576000"/>
          </a:xfrm>
        </p:spPr>
        <p:txBody>
          <a:bodyPr vert="horz"/>
          <a:lstStyle/>
          <a:p>
            <a:r>
              <a:rPr lang="sk-SK" dirty="0"/>
              <a:t>Ako sa prihlásiť? </a:t>
            </a:r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ACE5DE3-E7C0-4B99-83AC-D9362171D2A6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 bwMode="gray">
          <a:xfrm>
            <a:off x="408632" y="404696"/>
            <a:ext cx="11376000" cy="288000"/>
          </a:xfrm>
        </p:spPr>
        <p:txBody>
          <a:bodyPr/>
          <a:lstStyle/>
          <a:p>
            <a:r>
              <a:rPr lang="sk-SK" dirty="0"/>
              <a:t>Duálne vzdelávanie </a:t>
            </a:r>
            <a:endParaRPr lang="de-DE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CF299E3-11FC-4846-8B6F-F2066153CD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424013" y="6525368"/>
            <a:ext cx="360000" cy="2160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8CFDFCC3-8B40-4EE5-B231-005F2F1C6A68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50AA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64C6136-AD49-44BB-A7FA-292E6E1114CF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407368" y="4365124"/>
            <a:ext cx="2520000" cy="1656164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Lidl Font Pro Semibold" panose="02000000000000000000" pitchFamily="2" charset="0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989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marR="0" lvl="2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Prihlášku nájdeš na našej stránke</a:t>
            </a:r>
          </a:p>
          <a:p>
            <a:pPr marL="216000" marR="0" lvl="2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sk-SK" dirty="0">
                <a:solidFill>
                  <a:srgbClr val="0050AA"/>
                </a:solidFill>
                <a:latin typeface="Lidl Font Pro"/>
              </a:rPr>
              <a:t>Následne ju vyplníš</a:t>
            </a:r>
            <a:endParaRPr kumimoji="0" lang="sk-SK" sz="1800" b="0" i="0" u="none" strike="noStrike" kern="1200" cap="none" spc="0" normalizeH="0" baseline="0" noProof="0" dirty="0">
              <a:ln>
                <a:noFill/>
              </a:ln>
              <a:solidFill>
                <a:srgbClr val="0050AA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4D006667-89CC-48C9-927E-748ED295F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3359306" y="4365123"/>
            <a:ext cx="2520000" cy="189682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Lidl Font Pro Semibold" panose="02000000000000000000" pitchFamily="2" charset="0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989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marR="0" lvl="2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Zašleš prihlášku na adresu našej centrály</a:t>
            </a:r>
            <a:endParaRPr lang="sk-SK" dirty="0">
              <a:solidFill>
                <a:srgbClr val="0050AA"/>
              </a:solidFill>
              <a:latin typeface="Lidl Font Pro"/>
            </a:endParaRPr>
          </a:p>
          <a:p>
            <a:pPr marL="216000" marR="0" lvl="2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Alebo mailom na studujdualne@lidl.sk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276B8215-4877-45C4-A22F-A995BC611F9A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6312304" y="4365124"/>
            <a:ext cx="2520000" cy="1656164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Lidl Font Pro Semibold" panose="02000000000000000000" pitchFamily="2" charset="0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989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marR="0" lvl="2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Po obdržaní prihlášky, ťa pozveme na osobný pohovor</a:t>
            </a:r>
          </a:p>
          <a:p>
            <a:pPr marL="216000" marR="0" lvl="2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sk-SK" dirty="0">
                <a:solidFill>
                  <a:srgbClr val="0050AA"/>
                </a:solidFill>
                <a:latin typeface="Lidl Font Pro"/>
              </a:rPr>
              <a:t>Pohovor s kolegami je najmä zoznamovací </a:t>
            </a:r>
            <a:endParaRPr kumimoji="0" lang="sk-SK" sz="1800" b="0" i="0" u="none" strike="noStrike" kern="1200" cap="none" spc="0" normalizeH="0" baseline="0" noProof="0" dirty="0">
              <a:ln>
                <a:noFill/>
              </a:ln>
              <a:solidFill>
                <a:srgbClr val="0050AA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B8DB043E-FD41-4230-B8F2-60546BC29D5F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9264632" y="4365124"/>
            <a:ext cx="2520000" cy="1656164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Lidl Font Pro Semibold" panose="02000000000000000000" pitchFamily="2" charset="0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989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6000" marR="0" lvl="2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Po osobnom pohovore vyhodnotíme prihlášku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50AA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  <a:p>
            <a:pPr marL="216000" marR="0" lvl="2" indent="-21600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Ak sa dohodneme na spolupráci, podpíšeme spolu učebnú zmluvu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50AA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  <p:grpSp>
        <p:nvGrpSpPr>
          <p:cNvPr id="7" name="Grupa 6">
            <a:extLst>
              <a:ext uri="{FF2B5EF4-FFF2-40B4-BE49-F238E27FC236}">
                <a16:creationId xmlns:a16="http://schemas.microsoft.com/office/drawing/2014/main" id="{C43D1C55-578C-4483-A835-FBBD04855229}"/>
              </a:ext>
            </a:extLst>
          </p:cNvPr>
          <p:cNvGrpSpPr/>
          <p:nvPr/>
        </p:nvGrpSpPr>
        <p:grpSpPr bwMode="gray">
          <a:xfrm>
            <a:off x="0" y="3429000"/>
            <a:ext cx="3215680" cy="719534"/>
            <a:chOff x="0" y="3429000"/>
            <a:chExt cx="3215680" cy="719534"/>
          </a:xfrm>
        </p:grpSpPr>
        <p:sp>
          <p:nvSpPr>
            <p:cNvPr id="42" name="Textplatzhalter 2">
              <a:extLst>
                <a:ext uri="{FF2B5EF4-FFF2-40B4-BE49-F238E27FC236}">
                  <a16:creationId xmlns:a16="http://schemas.microsoft.com/office/drawing/2014/main" id="{A0DE6A60-E613-43E7-80BB-E8E1F8B388FB}"/>
                </a:ext>
              </a:extLst>
            </p:cNvPr>
            <p:cNvSpPr txBox="1"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0" y="3429000"/>
              <a:ext cx="3215680" cy="719534"/>
            </a:xfrm>
            <a:prstGeom prst="homePlate">
              <a:avLst>
                <a:gd name="adj" fmla="val 28868"/>
              </a:avLst>
            </a:prstGeom>
            <a:solidFill>
              <a:srgbClr val="003565"/>
            </a:solidFill>
          </p:spPr>
          <p:txBody>
            <a:bodyPr vert="horz" lIns="540000" tIns="0" rIns="0" bIns="0" rtlCol="0" anchor="ctr" anchorCtr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1"/>
                  </a:solidFill>
                  <a:latin typeface="Lidl Font Pro Semibold" panose="02000000000000000000" pitchFamily="2" charset="0"/>
                  <a:ea typeface="+mn-ea"/>
                  <a:cs typeface="+mn-cs"/>
                </a:defRPr>
              </a:lvl1pPr>
              <a:lvl2pPr marL="0" indent="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89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48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400050" marR="0" lvl="0" indent="0" algn="l" defTabSz="914377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sk-SK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idl Font Pro"/>
                  <a:ea typeface="+mn-ea"/>
                  <a:cs typeface="+mn-cs"/>
                </a:rPr>
                <a:t>Prihláška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idl Font Pro"/>
                <a:ea typeface="+mn-ea"/>
                <a:cs typeface="+mn-cs"/>
              </a:endParaRPr>
            </a:p>
          </p:txBody>
        </p:sp>
        <p:sp>
          <p:nvSpPr>
            <p:cNvPr id="52" name="Textplatzhalter 2">
              <a:extLst>
                <a:ext uri="{FF2B5EF4-FFF2-40B4-BE49-F238E27FC236}">
                  <a16:creationId xmlns:a16="http://schemas.microsoft.com/office/drawing/2014/main" id="{1C5E7715-1197-4FF4-8785-40B1F79FB925}"/>
                </a:ext>
              </a:extLst>
            </p:cNvPr>
            <p:cNvSpPr txBox="1"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407368" y="3429000"/>
              <a:ext cx="504000" cy="719534"/>
            </a:xfrm>
            <a:prstGeom prst="rect">
              <a:avLst/>
            </a:prstGeom>
            <a:noFill/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1"/>
                  </a:solidFill>
                  <a:latin typeface="Lidl Font Pro Semibold" panose="02000000000000000000" pitchFamily="2" charset="0"/>
                  <a:ea typeface="+mn-ea"/>
                  <a:cs typeface="+mn-cs"/>
                </a:defRPr>
              </a:lvl1pPr>
              <a:lvl2pPr marL="0" indent="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89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48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77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idl Font Pro"/>
                  <a:ea typeface="+mn-ea"/>
                  <a:cs typeface="+mn-cs"/>
                </a:rPr>
                <a:t>01</a:t>
              </a:r>
            </a:p>
          </p:txBody>
        </p:sp>
      </p:grpSp>
      <p:grpSp>
        <p:nvGrpSpPr>
          <p:cNvPr id="8" name="Grupa 7">
            <a:extLst>
              <a:ext uri="{FF2B5EF4-FFF2-40B4-BE49-F238E27FC236}">
                <a16:creationId xmlns:a16="http://schemas.microsoft.com/office/drawing/2014/main" id="{36DB78B4-1632-4597-A915-F76BD9522D2D}"/>
              </a:ext>
            </a:extLst>
          </p:cNvPr>
          <p:cNvGrpSpPr/>
          <p:nvPr/>
        </p:nvGrpSpPr>
        <p:grpSpPr bwMode="gray">
          <a:xfrm>
            <a:off x="2999656" y="3429000"/>
            <a:ext cx="3168352" cy="719534"/>
            <a:chOff x="2999656" y="3429000"/>
            <a:chExt cx="3168352" cy="719534"/>
          </a:xfrm>
        </p:grpSpPr>
        <p:sp>
          <p:nvSpPr>
            <p:cNvPr id="43" name="Textplatzhalter 2">
              <a:extLst>
                <a:ext uri="{FF2B5EF4-FFF2-40B4-BE49-F238E27FC236}">
                  <a16:creationId xmlns:a16="http://schemas.microsoft.com/office/drawing/2014/main" id="{65577ED3-6B18-433B-82A6-896CAE1CD2F2}"/>
                </a:ext>
              </a:extLst>
            </p:cNvPr>
            <p:cNvSpPr txBox="1"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2999656" y="3429000"/>
              <a:ext cx="3168352" cy="719534"/>
            </a:xfrm>
            <a:prstGeom prst="chevron">
              <a:avLst>
                <a:gd name="adj" fmla="val 28868"/>
              </a:avLst>
            </a:prstGeom>
            <a:solidFill>
              <a:schemeClr val="tx1"/>
            </a:solidFill>
          </p:spPr>
          <p:txBody>
            <a:bodyPr vert="horz" lIns="684000" tIns="0" rIns="0" bIns="0" rtlCol="0" anchor="ctr" anchorCtr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1"/>
                  </a:solidFill>
                  <a:latin typeface="Lidl Font Pro Semibold" panose="02000000000000000000" pitchFamily="2" charset="0"/>
                  <a:ea typeface="+mn-ea"/>
                  <a:cs typeface="+mn-cs"/>
                </a:defRPr>
              </a:lvl1pPr>
              <a:lvl2pPr marL="0" indent="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89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48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77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sk-SK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idl Font Pro"/>
                  <a:ea typeface="+mn-ea"/>
                  <a:cs typeface="+mn-cs"/>
                </a:rPr>
                <a:t>Zaslanie prihlášky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idl Font Pro"/>
                <a:ea typeface="+mn-ea"/>
                <a:cs typeface="+mn-cs"/>
              </a:endParaRPr>
            </a:p>
          </p:txBody>
        </p:sp>
        <p:sp>
          <p:nvSpPr>
            <p:cNvPr id="53" name="Textplatzhalter 2">
              <a:extLst>
                <a:ext uri="{FF2B5EF4-FFF2-40B4-BE49-F238E27FC236}">
                  <a16:creationId xmlns:a16="http://schemas.microsoft.com/office/drawing/2014/main" id="{9B48C7CF-8F9A-4CA9-A2FC-27421F416EA0}"/>
                </a:ext>
              </a:extLst>
            </p:cNvPr>
            <p:cNvSpPr txBox="1"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3359488" y="3429000"/>
              <a:ext cx="576272" cy="719534"/>
            </a:xfrm>
            <a:prstGeom prst="rect">
              <a:avLst/>
            </a:prstGeom>
            <a:noFill/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1"/>
                  </a:solidFill>
                  <a:latin typeface="Lidl Font Pro Semibold" panose="02000000000000000000" pitchFamily="2" charset="0"/>
                  <a:ea typeface="+mn-ea"/>
                  <a:cs typeface="+mn-cs"/>
                </a:defRPr>
              </a:lvl1pPr>
              <a:lvl2pPr marL="0" indent="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89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48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77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idl Font Pro"/>
                  <a:ea typeface="+mn-ea"/>
                  <a:cs typeface="+mn-cs"/>
                </a:rPr>
                <a:t>02</a:t>
              </a:r>
            </a:p>
          </p:txBody>
        </p:sp>
      </p:grpSp>
      <p:grpSp>
        <p:nvGrpSpPr>
          <p:cNvPr id="9" name="Grupa 8">
            <a:extLst>
              <a:ext uri="{FF2B5EF4-FFF2-40B4-BE49-F238E27FC236}">
                <a16:creationId xmlns:a16="http://schemas.microsoft.com/office/drawing/2014/main" id="{29F55D6F-F204-43CF-B91A-7BD38DFDF47D}"/>
              </a:ext>
            </a:extLst>
          </p:cNvPr>
          <p:cNvGrpSpPr/>
          <p:nvPr/>
        </p:nvGrpSpPr>
        <p:grpSpPr bwMode="gray">
          <a:xfrm>
            <a:off x="5951984" y="3429000"/>
            <a:ext cx="3168000" cy="719534"/>
            <a:chOff x="5951984" y="3429000"/>
            <a:chExt cx="3168000" cy="719534"/>
          </a:xfrm>
        </p:grpSpPr>
        <p:sp>
          <p:nvSpPr>
            <p:cNvPr id="44" name="Textplatzhalter 2">
              <a:extLst>
                <a:ext uri="{FF2B5EF4-FFF2-40B4-BE49-F238E27FC236}">
                  <a16:creationId xmlns:a16="http://schemas.microsoft.com/office/drawing/2014/main" id="{F3AD74FF-5018-41F6-8B45-F1265A70B3D0}"/>
                </a:ext>
              </a:extLst>
            </p:cNvPr>
            <p:cNvSpPr txBox="1"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5951984" y="3429000"/>
              <a:ext cx="3168000" cy="719534"/>
            </a:xfrm>
            <a:prstGeom prst="chevron">
              <a:avLst>
                <a:gd name="adj" fmla="val 28868"/>
              </a:avLst>
            </a:prstGeom>
            <a:solidFill>
              <a:schemeClr val="tx1">
                <a:lumMod val="20000"/>
                <a:lumOff val="80000"/>
              </a:schemeClr>
            </a:solidFill>
          </p:spPr>
          <p:txBody>
            <a:bodyPr vert="horz" lIns="684000" tIns="0" rIns="0" bIns="0" rtlCol="0" anchor="ctr" anchorCtr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1"/>
                  </a:solidFill>
                  <a:latin typeface="Lidl Font Pro Semibold" panose="02000000000000000000" pitchFamily="2" charset="0"/>
                  <a:ea typeface="+mn-ea"/>
                  <a:cs typeface="+mn-cs"/>
                </a:defRPr>
              </a:lvl1pPr>
              <a:lvl2pPr marL="0" indent="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89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48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77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sk-SK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50AA"/>
                  </a:solidFill>
                  <a:effectLst/>
                  <a:uLnTx/>
                  <a:uFillTx/>
                  <a:latin typeface="Lidl Font Pro"/>
                  <a:ea typeface="+mn-ea"/>
                  <a:cs typeface="+mn-cs"/>
                </a:rPr>
                <a:t>Osobný pohovor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endParaRPr>
            </a:p>
          </p:txBody>
        </p:sp>
        <p:sp>
          <p:nvSpPr>
            <p:cNvPr id="54" name="Textplatzhalter 2">
              <a:extLst>
                <a:ext uri="{FF2B5EF4-FFF2-40B4-BE49-F238E27FC236}">
                  <a16:creationId xmlns:a16="http://schemas.microsoft.com/office/drawing/2014/main" id="{CEF5B054-168D-4295-B60F-A9A7B2C01C49}"/>
                </a:ext>
              </a:extLst>
            </p:cNvPr>
            <p:cNvSpPr txBox="1"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6312080" y="3429000"/>
              <a:ext cx="504000" cy="719534"/>
            </a:xfrm>
            <a:prstGeom prst="rect">
              <a:avLst/>
            </a:prstGeom>
            <a:noFill/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1"/>
                  </a:solidFill>
                  <a:latin typeface="Lidl Font Pro Semibold" panose="02000000000000000000" pitchFamily="2" charset="0"/>
                  <a:ea typeface="+mn-ea"/>
                  <a:cs typeface="+mn-cs"/>
                </a:defRPr>
              </a:lvl1pPr>
              <a:lvl2pPr marL="0" indent="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89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48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77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50AA"/>
                  </a:solidFill>
                  <a:effectLst/>
                  <a:uLnTx/>
                  <a:uFillTx/>
                  <a:latin typeface="Lidl Font Pro"/>
                  <a:ea typeface="+mn-ea"/>
                  <a:cs typeface="+mn-cs"/>
                </a:rPr>
                <a:t>03</a:t>
              </a:r>
            </a:p>
          </p:txBody>
        </p:sp>
      </p:grpSp>
      <p:grpSp>
        <p:nvGrpSpPr>
          <p:cNvPr id="11" name="Grupa 10">
            <a:extLst>
              <a:ext uri="{FF2B5EF4-FFF2-40B4-BE49-F238E27FC236}">
                <a16:creationId xmlns:a16="http://schemas.microsoft.com/office/drawing/2014/main" id="{A7ECD4A1-1190-4A54-BBCE-25BD2C60DDDA}"/>
              </a:ext>
            </a:extLst>
          </p:cNvPr>
          <p:cNvGrpSpPr/>
          <p:nvPr/>
        </p:nvGrpSpPr>
        <p:grpSpPr bwMode="gray">
          <a:xfrm>
            <a:off x="8904312" y="3429000"/>
            <a:ext cx="3096000" cy="719534"/>
            <a:chOff x="8904312" y="3429000"/>
            <a:chExt cx="3096000" cy="719534"/>
          </a:xfrm>
        </p:grpSpPr>
        <p:sp>
          <p:nvSpPr>
            <p:cNvPr id="50" name="Textplatzhalter 2">
              <a:extLst>
                <a:ext uri="{FF2B5EF4-FFF2-40B4-BE49-F238E27FC236}">
                  <a16:creationId xmlns:a16="http://schemas.microsoft.com/office/drawing/2014/main" id="{F4BEF45F-9ECC-42A1-86E8-E5467C0B145E}"/>
                </a:ext>
              </a:extLst>
            </p:cNvPr>
            <p:cNvSpPr txBox="1"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8904312" y="3429000"/>
              <a:ext cx="3096000" cy="719534"/>
            </a:xfrm>
            <a:prstGeom prst="chevron">
              <a:avLst>
                <a:gd name="adj" fmla="val 28868"/>
              </a:avLst>
            </a:prstGeom>
            <a:solidFill>
              <a:schemeClr val="bg1">
                <a:lumMod val="95000"/>
              </a:schemeClr>
            </a:solidFill>
          </p:spPr>
          <p:txBody>
            <a:bodyPr vert="horz" lIns="684000" tIns="0" rIns="0" bIns="0" rtlCol="0" anchor="ctr" anchorCtr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1"/>
                  </a:solidFill>
                  <a:latin typeface="Lidl Font Pro Semibold" panose="02000000000000000000" pitchFamily="2" charset="0"/>
                  <a:ea typeface="+mn-ea"/>
                  <a:cs typeface="+mn-cs"/>
                </a:defRPr>
              </a:lvl1pPr>
              <a:lvl2pPr marL="0" indent="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89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48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77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sk-SK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50AA"/>
                  </a:solidFill>
                  <a:effectLst/>
                  <a:uLnTx/>
                  <a:uFillTx/>
                  <a:latin typeface="Lidl Font Pro"/>
                  <a:ea typeface="+mn-ea"/>
                  <a:cs typeface="+mn-cs"/>
                </a:rPr>
                <a:t>Vyhodnotenie</a:t>
              </a:r>
              <a:endPara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endParaRPr>
            </a:p>
          </p:txBody>
        </p:sp>
        <p:sp>
          <p:nvSpPr>
            <p:cNvPr id="55" name="Textplatzhalter 2">
              <a:extLst>
                <a:ext uri="{FF2B5EF4-FFF2-40B4-BE49-F238E27FC236}">
                  <a16:creationId xmlns:a16="http://schemas.microsoft.com/office/drawing/2014/main" id="{EC49B64A-5FBB-40C2-8716-18F068489831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9264408" y="3429000"/>
              <a:ext cx="504000" cy="719534"/>
            </a:xfrm>
            <a:prstGeom prst="rect">
              <a:avLst/>
            </a:prstGeom>
            <a:noFill/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b="0" kern="1200">
                  <a:solidFill>
                    <a:schemeClr val="tx1"/>
                  </a:solidFill>
                  <a:latin typeface="Lidl Font Pro Semibold" panose="02000000000000000000" pitchFamily="2" charset="0"/>
                  <a:ea typeface="+mn-ea"/>
                  <a:cs typeface="+mn-cs"/>
                </a:defRPr>
              </a:lvl1pPr>
              <a:lvl2pPr marL="0" indent="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16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431989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648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864000" indent="-216000" algn="l" defTabSz="914377" rtl="0" eaLnBrk="1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Font typeface="Lidl Font Pro" panose="02000000000000000000" pitchFamily="2" charset="0"/>
                <a:buChar char="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377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50AA"/>
                  </a:solidFill>
                  <a:effectLst/>
                  <a:uLnTx/>
                  <a:uFillTx/>
                  <a:latin typeface="Lidl Font Pro"/>
                  <a:ea typeface="+mn-ea"/>
                  <a:cs typeface="+mn-cs"/>
                </a:rPr>
                <a:t>0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636539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232B4FA3-0981-4D60-98BF-D78D37578F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25" name="think-cell Folie" r:id="rId10" imgW="415" imgH="416" progId="TCLayout.ActiveDocument.1">
                  <p:embed/>
                </p:oleObj>
              </mc:Choice>
              <mc:Fallback>
                <p:oleObj name="think-cell Folie" r:id="rId10" imgW="415" imgH="41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232B4FA3-0981-4D60-98BF-D78D37578F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255D1ADC-1E20-4FA2-BF81-27FBC88FCEC5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4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idl Font Pro" panose="02000000000000000000" pitchFamily="2" charset="0"/>
              <a:ea typeface="+mn-ea"/>
              <a:cs typeface="+mn-cs"/>
              <a:sym typeface="Lidl Font Pro" panose="02000000000000000000" pitchFamily="2" charset="0"/>
            </a:endParaRPr>
          </a:p>
        </p:txBody>
      </p:sp>
      <p:sp>
        <p:nvSpPr>
          <p:cNvPr id="39" name="Titel 38">
            <a:extLst>
              <a:ext uri="{FF2B5EF4-FFF2-40B4-BE49-F238E27FC236}">
                <a16:creationId xmlns:a16="http://schemas.microsoft.com/office/drawing/2014/main" id="{754E3F66-CC3F-4780-B17A-D9D2A1231463}"/>
              </a:ext>
            </a:extLst>
          </p:cNvPr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gray">
          <a:xfrm>
            <a:off x="1836673" y="656692"/>
            <a:ext cx="8856000" cy="1224136"/>
          </a:xfrm>
        </p:spPr>
        <p:txBody>
          <a:bodyPr vert="horz"/>
          <a:lstStyle/>
          <a:p>
            <a:pPr algn="ctr"/>
            <a:r>
              <a:rPr lang="sk-SK" dirty="0"/>
              <a:t>,,Kto sa prestáva zlepšovať, prestáva </a:t>
            </a:r>
            <a:r>
              <a:rPr lang="sk-SK"/>
              <a:t>byť dobrý.“ </a:t>
            </a:r>
            <a:endParaRPr lang="de-DE" dirty="0"/>
          </a:p>
        </p:txBody>
      </p:sp>
      <p:sp>
        <p:nvSpPr>
          <p:cNvPr id="4" name="Untertitel 3">
            <a:extLst>
              <a:ext uri="{FF2B5EF4-FFF2-40B4-BE49-F238E27FC236}">
                <a16:creationId xmlns:a16="http://schemas.microsoft.com/office/drawing/2014/main" id="{1C7C38D7-C437-4F0D-86D5-A86B0FA8005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gray">
          <a:xfrm>
            <a:off x="407368" y="2852936"/>
            <a:ext cx="4176000" cy="2736304"/>
          </a:xfrm>
        </p:spPr>
        <p:txBody>
          <a:bodyPr/>
          <a:lstStyle/>
          <a:p>
            <a:r>
              <a:rPr lang="sk-SK" dirty="0"/>
              <a:t>Lidl Slovenská republika, v.o.s.</a:t>
            </a:r>
            <a:endParaRPr lang="de-DE" dirty="0"/>
          </a:p>
          <a:p>
            <a:pPr lvl="2"/>
            <a:r>
              <a:rPr lang="sk-SK" dirty="0"/>
              <a:t>Ružinovská 1/E</a:t>
            </a:r>
            <a:br>
              <a:rPr lang="de-DE" dirty="0"/>
            </a:br>
            <a:r>
              <a:rPr lang="sk-SK" dirty="0"/>
              <a:t>821 02 Bratislava</a:t>
            </a:r>
            <a:endParaRPr lang="de-DE" dirty="0"/>
          </a:p>
          <a:p>
            <a:pPr lvl="2"/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CB307E12-EC9B-4009-991C-F1ACE2949BDD}"/>
              </a:ext>
            </a:extLst>
          </p:cNvPr>
          <p:cNvSpPr>
            <a:spLocks noGrp="1"/>
          </p:cNvSpPr>
          <p:nvPr>
            <p:ph type="body" sz="quarter" idx="12"/>
            <p:custDataLst>
              <p:tags r:id="rId6"/>
            </p:custDataLst>
          </p:nvPr>
        </p:nvSpPr>
        <p:spPr bwMode="gray">
          <a:xfrm>
            <a:off x="839416" y="5904503"/>
            <a:ext cx="3743952" cy="252000"/>
          </a:xfrm>
        </p:spPr>
        <p:txBody>
          <a:bodyPr/>
          <a:lstStyle/>
          <a:p>
            <a:r>
              <a:rPr lang="de-DE" dirty="0"/>
              <a:t>+4</a:t>
            </a:r>
            <a:r>
              <a:rPr lang="sk-SK" dirty="0"/>
              <a:t>21</a:t>
            </a:r>
            <a:r>
              <a:rPr lang="de-DE" dirty="0"/>
              <a:t> </a:t>
            </a:r>
            <a:r>
              <a:rPr lang="sk-SK" dirty="0"/>
              <a:t>2</a:t>
            </a:r>
            <a:r>
              <a:rPr lang="de-DE" dirty="0"/>
              <a:t> </a:t>
            </a:r>
            <a:r>
              <a:rPr lang="sk-SK" dirty="0"/>
              <a:t>58</a:t>
            </a:r>
            <a:r>
              <a:rPr lang="de-DE" dirty="0"/>
              <a:t> </a:t>
            </a:r>
            <a:r>
              <a:rPr lang="sk-SK" dirty="0"/>
              <a:t>279 336</a:t>
            </a:r>
            <a:endParaRPr lang="de-DE" dirty="0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93B2AA81-C3D4-4BCA-A6A6-A34B71EA37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ED57244A-EC9D-4790-AAEC-9A73578F945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F8ED0FD1-AFD7-4E9E-9FD8-B82D2DD91DE0}"/>
              </a:ext>
            </a:extLst>
          </p:cNvPr>
          <p:cNvSpPr>
            <a:spLocks noGrp="1"/>
          </p:cNvSpPr>
          <p:nvPr>
            <p:ph type="body" sz="quarter" idx="18"/>
            <p:custDataLst>
              <p:tags r:id="rId7"/>
            </p:custDataLst>
          </p:nvPr>
        </p:nvSpPr>
        <p:spPr>
          <a:xfrm>
            <a:off x="839416" y="6213031"/>
            <a:ext cx="3743952" cy="252000"/>
          </a:xfrm>
        </p:spPr>
        <p:txBody>
          <a:bodyPr/>
          <a:lstStyle/>
          <a:p>
            <a:r>
              <a:rPr lang="sk-SK" dirty="0" err="1"/>
              <a:t>studujdualne</a:t>
            </a:r>
            <a:r>
              <a:rPr lang="de-DE" dirty="0"/>
              <a:t>@</a:t>
            </a:r>
            <a:r>
              <a:rPr lang="sk-SK" dirty="0" err="1"/>
              <a:t>lidl</a:t>
            </a:r>
            <a:r>
              <a:rPr lang="de-DE" dirty="0"/>
              <a:t>.</a:t>
            </a:r>
            <a:r>
              <a:rPr lang="sk-SK" dirty="0" err="1"/>
              <a:t>sk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5348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objekt pre číslo snímky 4">
            <a:extLst>
              <a:ext uri="{FF2B5EF4-FFF2-40B4-BE49-F238E27FC236}">
                <a16:creationId xmlns:a16="http://schemas.microsoft.com/office/drawing/2014/main" id="{2203B00F-D6E0-4036-A1C0-F71F4BBC8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F9B0DE-3FEB-4AA0-B465-B80EF7C1333D}" type="slidenum">
              <a:rPr lang="de-DE" smtClean="0"/>
              <a:t>2</a:t>
            </a:fld>
            <a:endParaRPr lang="de-DE"/>
          </a:p>
        </p:txBody>
      </p:sp>
      <p:pic>
        <p:nvPicPr>
          <p:cNvPr id="12" name="Obrázok 11">
            <a:extLst>
              <a:ext uri="{FF2B5EF4-FFF2-40B4-BE49-F238E27FC236}">
                <a16:creationId xmlns:a16="http://schemas.microsoft.com/office/drawing/2014/main" id="{E4D8A015-0435-4F1D-8D9D-C6501C4E4B0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070" t="4364" r="57610" b="2125"/>
          <a:stretch/>
        </p:blipFill>
        <p:spPr>
          <a:xfrm>
            <a:off x="7675167" y="1256237"/>
            <a:ext cx="4069783" cy="447676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6" name="Titel 8">
            <a:extLst>
              <a:ext uri="{FF2B5EF4-FFF2-40B4-BE49-F238E27FC236}">
                <a16:creationId xmlns:a16="http://schemas.microsoft.com/office/drawing/2014/main" id="{1D41644E-AA39-43CA-8A2A-BBD1342236F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 bwMode="gray">
          <a:xfrm>
            <a:off x="407368" y="740776"/>
            <a:ext cx="11376000" cy="576000"/>
          </a:xfrm>
        </p:spPr>
        <p:txBody>
          <a:bodyPr vert="horz"/>
          <a:lstStyle/>
          <a:p>
            <a:r>
              <a:rPr lang="sk-SK" dirty="0">
                <a:latin typeface="Lidl Font Pro" panose="02000000000000000000" pitchFamily="2" charset="0"/>
              </a:rPr>
              <a:t>Čo je duálne vzdelávanie</a:t>
            </a:r>
            <a:endParaRPr lang="de-DE" dirty="0">
              <a:latin typeface="Lidl Font Pro" panose="02000000000000000000" pitchFamily="2" charset="0"/>
            </a:endParaRP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A2F83AB8-1FC2-4C58-BDAA-C1F745C79FA3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 bwMode="gray">
          <a:xfrm>
            <a:off x="408632" y="404696"/>
            <a:ext cx="11376000" cy="288000"/>
          </a:xfrm>
        </p:spPr>
        <p:txBody>
          <a:bodyPr/>
          <a:lstStyle/>
          <a:p>
            <a:r>
              <a:rPr lang="sk-SK" dirty="0">
                <a:latin typeface="Lidl Font Pro" panose="02000000000000000000" pitchFamily="2" charset="0"/>
              </a:rPr>
              <a:t>Duálne vzdelávanie</a:t>
            </a:r>
            <a:endParaRPr lang="de-DE" dirty="0">
              <a:latin typeface="Lidl Font Pro" panose="02000000000000000000" pitchFamily="2" charset="0"/>
            </a:endParaRPr>
          </a:p>
        </p:txBody>
      </p:sp>
      <p:sp>
        <p:nvSpPr>
          <p:cNvPr id="26" name="Inhaltsplatzhalter 1">
            <a:extLst>
              <a:ext uri="{FF2B5EF4-FFF2-40B4-BE49-F238E27FC236}">
                <a16:creationId xmlns:a16="http://schemas.microsoft.com/office/drawing/2014/main" id="{A18CB245-8191-49D5-8C26-CB45DE5BC129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407369" y="1420537"/>
            <a:ext cx="7056632" cy="4696687"/>
          </a:xfrm>
          <a:prstGeom prst="rect">
            <a:avLst/>
          </a:prstGeom>
        </p:spPr>
        <p:txBody>
          <a:bodyPr/>
          <a:lstStyle>
            <a:lvl1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989" indent="-216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990" lvl="1" indent="-38099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k-SK" sz="1600" dirty="0">
                <a:latin typeface="Lidl Font Pro" panose="02000000000000000000" pitchFamily="2" charset="0"/>
              </a:rPr>
              <a:t>Stredoškolské štúdium, ktoré prepája </a:t>
            </a:r>
            <a:r>
              <a:rPr lang="sk-SK" sz="1600" b="1" dirty="0">
                <a:latin typeface="Lidl Font Pro" panose="02000000000000000000" pitchFamily="2" charset="0"/>
              </a:rPr>
              <a:t>teóriu s praxou </a:t>
            </a:r>
            <a:r>
              <a:rPr lang="sk-SK" sz="1600" dirty="0">
                <a:latin typeface="Lidl Font Pro" panose="02000000000000000000" pitchFamily="2" charset="0"/>
              </a:rPr>
              <a:t>v odbore </a:t>
            </a:r>
            <a:r>
              <a:rPr lang="sk-SK" sz="1600" b="1" dirty="0">
                <a:latin typeface="Lidl Font Pro" panose="02000000000000000000" pitchFamily="2" charset="0"/>
              </a:rPr>
              <a:t>„Obchodný pracovník / Obchodná pracovníčka“.</a:t>
            </a:r>
          </a:p>
          <a:p>
            <a:pPr marL="380990" lvl="1" indent="-38099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sk-SK" sz="1600" b="1" dirty="0">
              <a:latin typeface="Lidl Font Pro" panose="02000000000000000000" pitchFamily="2" charset="0"/>
            </a:endParaRPr>
          </a:p>
          <a:p>
            <a:pPr marL="380990" lvl="1" indent="-38099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k-SK" sz="1600" b="1" dirty="0">
                <a:latin typeface="Lidl Font Pro" panose="02000000000000000000" pitchFamily="2" charset="0"/>
              </a:rPr>
              <a:t>Kto môže byť dualistom/</a:t>
            </a:r>
            <a:r>
              <a:rPr lang="sk-SK" sz="1600" b="1" dirty="0" err="1">
                <a:latin typeface="Lidl Font Pro" panose="02000000000000000000" pitchFamily="2" charset="0"/>
              </a:rPr>
              <a:t>dualistkou</a:t>
            </a:r>
            <a:r>
              <a:rPr lang="sk-SK" sz="1600" b="1" dirty="0">
                <a:latin typeface="Lidl Font Pro" panose="02000000000000000000" pitchFamily="2" charset="0"/>
              </a:rPr>
              <a:t>: </a:t>
            </a:r>
          </a:p>
          <a:p>
            <a:pPr marL="812979" lvl="3" indent="-380990">
              <a:lnSpc>
                <a:spcPct val="150000"/>
              </a:lnSpc>
            </a:pPr>
            <a:r>
              <a:rPr lang="sk-SK" sz="1600" dirty="0">
                <a:latin typeface="Lidl Font Pro" panose="02000000000000000000" pitchFamily="2" charset="0"/>
              </a:rPr>
              <a:t>študent/študentka vybranej SOŠ, s ktorým/ktorou uzatvoríme učebnú zmluvu.</a:t>
            </a:r>
          </a:p>
          <a:p>
            <a:pPr lvl="1">
              <a:lnSpc>
                <a:spcPct val="150000"/>
              </a:lnSpc>
            </a:pPr>
            <a:r>
              <a:rPr lang="sk-SK" sz="1600" dirty="0">
                <a:latin typeface="Lidl Font Pro" panose="02000000000000000000" pitchFamily="2" charset="0"/>
              </a:rPr>
              <a:t> </a:t>
            </a:r>
          </a:p>
          <a:p>
            <a:pPr marL="380990" lvl="1" indent="-38099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k-SK" sz="1600" b="1" dirty="0">
                <a:latin typeface="Lidl Font Pro" panose="02000000000000000000" pitchFamily="2" charset="0"/>
              </a:rPr>
              <a:t>Kde prebieha duálne vzdelávanie:</a:t>
            </a:r>
          </a:p>
          <a:p>
            <a:pPr marL="812979" lvl="3" indent="-380990">
              <a:lnSpc>
                <a:spcPct val="150000"/>
              </a:lnSpc>
            </a:pPr>
            <a:r>
              <a:rPr lang="sk-SK" sz="1600" dirty="0">
                <a:latin typeface="Lidl Font Pro" panose="02000000000000000000" pitchFamily="2" charset="0"/>
              </a:rPr>
              <a:t>vyučovanie v SOŠ po celom Slovensku,</a:t>
            </a:r>
          </a:p>
          <a:p>
            <a:pPr marL="812979" lvl="3" indent="-380990">
              <a:lnSpc>
                <a:spcPct val="150000"/>
              </a:lnSpc>
            </a:pPr>
            <a:r>
              <a:rPr lang="sk-SK" sz="1600" dirty="0">
                <a:latin typeface="Lidl Font Pro" panose="02000000000000000000" pitchFamily="2" charset="0"/>
              </a:rPr>
              <a:t>praktická časť v certifikovaných predajniach pod vedením inštruktorov.</a:t>
            </a:r>
          </a:p>
          <a:p>
            <a:pPr marL="380990" lvl="1" indent="-38099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sk-SK" sz="1600" dirty="0">
              <a:latin typeface="Lidl Font Pr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64443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" name="Objekt 51" hidden="1">
            <a:extLst>
              <a:ext uri="{FF2B5EF4-FFF2-40B4-BE49-F238E27FC236}">
                <a16:creationId xmlns:a16="http://schemas.microsoft.com/office/drawing/2014/main" id="{5B56C0F1-E207-49C2-A08A-15A05835A4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06" name="think-cell Folie" r:id="rId16" imgW="306" imgH="306" progId="TCLayout.ActiveDocument.1">
                  <p:embed/>
                </p:oleObj>
              </mc:Choice>
              <mc:Fallback>
                <p:oleObj name="think-cell Folie" r:id="rId16" imgW="306" imgH="306" progId="TCLayout.ActiveDocument.1">
                  <p:embed/>
                  <p:pic>
                    <p:nvPicPr>
                      <p:cNvPr id="52" name="Objekt 51" hidden="1">
                        <a:extLst>
                          <a:ext uri="{FF2B5EF4-FFF2-40B4-BE49-F238E27FC236}">
                            <a16:creationId xmlns:a16="http://schemas.microsoft.com/office/drawing/2014/main" id="{5B56C0F1-E207-49C2-A08A-15A05835A4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 hidden="1">
            <a:extLst>
              <a:ext uri="{FF2B5EF4-FFF2-40B4-BE49-F238E27FC236}">
                <a16:creationId xmlns:a16="http://schemas.microsoft.com/office/drawing/2014/main" id="{439EB4AC-30EE-4D3F-BB9D-67F8E9932CE8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rgbClr val="006FB9"/>
              </a:gs>
              <a:gs pos="60000">
                <a:srgbClr val="0050AA"/>
              </a:gs>
              <a:gs pos="100000">
                <a:srgbClr val="003565"/>
              </a:gs>
            </a:gsLst>
            <a:lin ang="0" scaled="0"/>
          </a:gra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e-DE" sz="3200" b="1" dirty="0">
              <a:solidFill>
                <a:schemeClr val="bg1"/>
              </a:solidFill>
              <a:latin typeface="Lidl Font Pro" panose="02000000000000000000" pitchFamily="2" charset="0"/>
              <a:ea typeface="+mj-ea"/>
              <a:cs typeface="+mj-cs"/>
              <a:sym typeface="Lidl Font Pro" panose="02000000000000000000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2760FF3-7FD2-41B9-86C1-EB7BB945F406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407368" y="740776"/>
            <a:ext cx="11376000" cy="576000"/>
          </a:xfrm>
        </p:spPr>
        <p:txBody>
          <a:bodyPr vert="horz"/>
          <a:lstStyle/>
          <a:p>
            <a:r>
              <a:rPr lang="sk-SK" dirty="0"/>
              <a:t>Čo sa u nás počas štúdia naučíš?</a:t>
            </a:r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8C6B21A6-68C4-4B75-ACCE-A73AE360A280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 bwMode="gray">
          <a:xfrm>
            <a:off x="408000" y="428798"/>
            <a:ext cx="11376000" cy="288000"/>
          </a:xfrm>
        </p:spPr>
        <p:txBody>
          <a:bodyPr/>
          <a:lstStyle/>
          <a:p>
            <a:r>
              <a:rPr lang="sk-SK" dirty="0"/>
              <a:t>Duálne vzdelávanie</a:t>
            </a:r>
            <a:endParaRPr lang="de-DE" dirty="0"/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CB7BA3C8-58BC-487A-BEAE-4F11320AD5C5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gray">
          <a:xfrm>
            <a:off x="407368" y="1733157"/>
            <a:ext cx="547273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86F59A56-4AB2-47A7-9ED2-D1B1564165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407244" y="1445125"/>
            <a:ext cx="3671488" cy="1872207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Lidl Font Pro Semibold" panose="02000000000000000000" pitchFamily="2" charset="0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989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sk-SK" b="1" dirty="0">
                <a:latin typeface="+mn-lt"/>
              </a:rPr>
              <a:t>1. ročník</a:t>
            </a:r>
            <a:endParaRPr lang="de-DE" b="1" dirty="0">
              <a:latin typeface="+mn-lt"/>
            </a:endParaRPr>
          </a:p>
          <a:p>
            <a:pPr marL="2857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k-SK" sz="1400" dirty="0"/>
              <a:t>Zoznámiš sa so svojim pracovným tímom.</a:t>
            </a:r>
          </a:p>
          <a:p>
            <a:pPr marL="2857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k-SK" sz="1400" dirty="0"/>
              <a:t>Spoznáš nové pracovisko a jeho fungovanie.</a:t>
            </a:r>
          </a:p>
          <a:p>
            <a:pPr marL="2857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k-SK" sz="1400" dirty="0"/>
              <a:t>Spoznáš celý sortiment predajne.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B035EB47-E4D1-4D52-805B-2975210BF448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gray">
          <a:xfrm>
            <a:off x="6312024" y="1733157"/>
            <a:ext cx="547273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B3FBB35E-95DD-4961-AC0D-7F8BB7F8B4C1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6311900" y="1441192"/>
            <a:ext cx="3671488" cy="1872207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Lidl Font Pro Semibold" panose="02000000000000000000" pitchFamily="2" charset="0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989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sk-SK" b="1" dirty="0">
                <a:latin typeface="+mn-lt"/>
              </a:rPr>
              <a:t>2. ročník</a:t>
            </a:r>
            <a:endParaRPr lang="de-DE" b="1" dirty="0">
              <a:latin typeface="+mn-lt"/>
            </a:endParaRPr>
          </a:p>
          <a:p>
            <a:pPr marL="2857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k-SK" sz="1400" dirty="0"/>
              <a:t>Zistíš, ako funguje kolobeh tovaru </a:t>
            </a:r>
            <a:br>
              <a:rPr lang="sk-SK" sz="1400" dirty="0"/>
            </a:br>
            <a:r>
              <a:rPr lang="sk-SK" sz="1400" dirty="0"/>
              <a:t>v predajni.</a:t>
            </a:r>
          </a:p>
          <a:p>
            <a:pPr marL="2857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k-SK" sz="1400" dirty="0"/>
              <a:t>Naučíš sa urobiť príjem tovaru či odpisy.</a:t>
            </a:r>
          </a:p>
          <a:p>
            <a:pPr marL="2857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k-SK" sz="1400" dirty="0"/>
              <a:t>Spoznáš administratívu v predajniach.</a:t>
            </a:r>
          </a:p>
        </p:txBody>
      </p: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22BEECC5-A93A-4E0D-959D-F6C2CC5F87A3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gray">
          <a:xfrm>
            <a:off x="407368" y="4005064"/>
            <a:ext cx="547273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62388E26-0896-4772-8AAE-6EEC41AF090E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407244" y="3716793"/>
            <a:ext cx="3671488" cy="1872207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Lidl Font Pro Semibold" panose="02000000000000000000" pitchFamily="2" charset="0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989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sk-SK" b="1" dirty="0">
                <a:latin typeface="+mn-lt"/>
              </a:rPr>
              <a:t>3. ročník</a:t>
            </a:r>
            <a:endParaRPr lang="de-DE" b="1" dirty="0">
              <a:latin typeface="+mn-lt"/>
            </a:endParaRPr>
          </a:p>
          <a:p>
            <a:pPr marL="2857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k-SK" sz="1400" dirty="0"/>
              <a:t>Naučíš sa robiť objednávky tovaru.</a:t>
            </a:r>
          </a:p>
          <a:p>
            <a:pPr marL="2857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k-SK" sz="1400" dirty="0"/>
              <a:t>Zoznámiš sa s prácou na pokladnici.</a:t>
            </a:r>
          </a:p>
          <a:p>
            <a:pPr marL="2857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k-SK" sz="1400" dirty="0"/>
              <a:t>Spoznáš ostatné peňažné operácie.</a:t>
            </a:r>
          </a:p>
        </p:txBody>
      </p:sp>
      <p:cxnSp>
        <p:nvCxnSpPr>
          <p:cNvPr id="46" name="Gerader Verbinder 45">
            <a:extLst>
              <a:ext uri="{FF2B5EF4-FFF2-40B4-BE49-F238E27FC236}">
                <a16:creationId xmlns:a16="http://schemas.microsoft.com/office/drawing/2014/main" id="{DFB70CD0-8CB4-4695-904B-487A73A9B5E3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>
            <a:off x="6312024" y="4005064"/>
            <a:ext cx="547273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55040280-9F2C-454A-B573-E9F1EAA34022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6311900" y="3716793"/>
            <a:ext cx="3671488" cy="1872207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Lidl Font Pro Semibold" panose="02000000000000000000" pitchFamily="2" charset="0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989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600"/>
              </a:spcAft>
            </a:pPr>
            <a:r>
              <a:rPr lang="sk-SK" b="1" dirty="0">
                <a:latin typeface="+mn-lt"/>
              </a:rPr>
              <a:t>4. ročník</a:t>
            </a:r>
            <a:endParaRPr lang="de-DE" b="1" dirty="0">
              <a:latin typeface="+mn-lt"/>
            </a:endParaRPr>
          </a:p>
          <a:p>
            <a:pPr marL="2857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k-SK" sz="1400" dirty="0"/>
              <a:t>Spoznáš prácu vedenia predajne.</a:t>
            </a:r>
          </a:p>
          <a:p>
            <a:pPr marL="2857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k-SK" sz="1400" dirty="0"/>
              <a:t>Oboznámiš sa s personálnou prácou.</a:t>
            </a:r>
          </a:p>
          <a:p>
            <a:pPr marL="285750" lvl="1" indent="-285750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k-SK" sz="1400" dirty="0"/>
              <a:t>Za podpory kolegov sa pripravíš na maturitnú skúšku.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48A05F7-112A-4765-922D-4DB42013797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8CFDFCC3-8B40-4EE5-B231-005F2F1C6A68}" type="slidenum">
              <a:rPr lang="de-DE" smtClean="0"/>
              <a:pPr algn="r"/>
              <a:t>3</a:t>
            </a:fld>
            <a:endParaRPr lang="de-DE" dirty="0"/>
          </a:p>
        </p:txBody>
      </p:sp>
      <p:pic>
        <p:nvPicPr>
          <p:cNvPr id="26" name="Obrázok 25">
            <a:extLst>
              <a:ext uri="{FF2B5EF4-FFF2-40B4-BE49-F238E27FC236}">
                <a16:creationId xmlns:a16="http://schemas.microsoft.com/office/drawing/2014/main" id="{8C3D4863-2F2C-444B-8479-1942F1244359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459396" y="1847227"/>
            <a:ext cx="1015846" cy="1558853"/>
          </a:xfrm>
          <a:prstGeom prst="rect">
            <a:avLst/>
          </a:prstGeom>
        </p:spPr>
      </p:pic>
      <p:pic>
        <p:nvPicPr>
          <p:cNvPr id="28" name="Obrázok 27">
            <a:extLst>
              <a:ext uri="{FF2B5EF4-FFF2-40B4-BE49-F238E27FC236}">
                <a16:creationId xmlns:a16="http://schemas.microsoft.com/office/drawing/2014/main" id="{D50A746B-7BB6-4CAF-ABD4-01247C980C5C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751339" y="1773889"/>
            <a:ext cx="2088062" cy="158405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9" name="Obrázok 28">
            <a:extLst>
              <a:ext uri="{FF2B5EF4-FFF2-40B4-BE49-F238E27FC236}">
                <a16:creationId xmlns:a16="http://schemas.microsoft.com/office/drawing/2014/main" id="{712AF121-974F-4ED6-8F65-430015338909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878772" y="4069761"/>
            <a:ext cx="2001328" cy="143460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0" name="Obrázok 29">
            <a:extLst>
              <a:ext uri="{FF2B5EF4-FFF2-40B4-BE49-F238E27FC236}">
                <a16:creationId xmlns:a16="http://schemas.microsoft.com/office/drawing/2014/main" id="{F5868994-31AE-4DF2-89BC-1F01758E336F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766006" y="4058451"/>
            <a:ext cx="2017362" cy="147716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628107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čísla snímky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Nadpis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Čo Lidl ponúka dualistom</a:t>
            </a:r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1276861868"/>
              </p:ext>
            </p:extLst>
          </p:nvPr>
        </p:nvGraphicFramePr>
        <p:xfrm>
          <a:off x="749014" y="1464688"/>
          <a:ext cx="4958965" cy="49406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3097503512"/>
              </p:ext>
            </p:extLst>
          </p:nvPr>
        </p:nvGraphicFramePr>
        <p:xfrm>
          <a:off x="6768074" y="1485000"/>
          <a:ext cx="4864944" cy="48216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2" name="Kríž 1">
            <a:extLst>
              <a:ext uri="{FF2B5EF4-FFF2-40B4-BE49-F238E27FC236}">
                <a16:creationId xmlns:a16="http://schemas.microsoft.com/office/drawing/2014/main" id="{72B05455-8607-4D6F-A575-12AE8E4B4E70}"/>
              </a:ext>
            </a:extLst>
          </p:cNvPr>
          <p:cNvSpPr/>
          <p:nvPr/>
        </p:nvSpPr>
        <p:spPr bwMode="gray">
          <a:xfrm>
            <a:off x="5757990" y="4149000"/>
            <a:ext cx="960073" cy="936000"/>
          </a:xfrm>
          <a:prstGeom prst="plus">
            <a:avLst>
              <a:gd name="adj" fmla="val 35855"/>
            </a:avLst>
          </a:prstGeom>
          <a:solidFill>
            <a:schemeClr val="tx1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 err="1">
              <a:solidFill>
                <a:schemeClr val="bg1"/>
              </a:solidFill>
            </a:endParaRPr>
          </a:p>
        </p:txBody>
      </p:sp>
      <p:sp>
        <p:nvSpPr>
          <p:cNvPr id="11" name="Textplatzhalter 26">
            <a:extLst>
              <a:ext uri="{FF2B5EF4-FFF2-40B4-BE49-F238E27FC236}">
                <a16:creationId xmlns:a16="http://schemas.microsoft.com/office/drawing/2014/main" id="{1DFD3538-4B0B-4C9A-9E1F-81F9ACBDF43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408000" y="428798"/>
            <a:ext cx="11376000" cy="288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k-SK"/>
              <a:t>Duálne vzdelávani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13830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čísla snímky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Nadpis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Čo Lidl ponúka dualistom v oblasti odmeňovania a benefitov</a:t>
            </a:r>
          </a:p>
        </p:txBody>
      </p:sp>
      <p:sp>
        <p:nvSpPr>
          <p:cNvPr id="7" name="Zástupný symbol textu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sk-SK" dirty="0"/>
              <a:t>Duálne vzdelávanie</a:t>
            </a:r>
          </a:p>
        </p:txBody>
      </p:sp>
      <p:sp>
        <p:nvSpPr>
          <p:cNvPr id="2" name="BlokTextu 1">
            <a:extLst>
              <a:ext uri="{FF2B5EF4-FFF2-40B4-BE49-F238E27FC236}">
                <a16:creationId xmlns:a16="http://schemas.microsoft.com/office/drawing/2014/main" id="{79B55853-8E38-40CD-A0B0-936B4452EC34}"/>
              </a:ext>
            </a:extLst>
          </p:cNvPr>
          <p:cNvSpPr txBox="1"/>
          <p:nvPr/>
        </p:nvSpPr>
        <p:spPr bwMode="gray">
          <a:xfrm>
            <a:off x="2180522" y="1545276"/>
            <a:ext cx="9602846" cy="7812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sk-SK" sz="1200" dirty="0"/>
              <a:t>Nástupná mzda vo výške 3,50Eur/hod, pričom každý rok sa mzda žiakovi automaticky navyšuje.   </a:t>
            </a:r>
          </a:p>
          <a:p>
            <a:pPr marL="228594" indent="-22859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sk-SK" sz="1200" dirty="0"/>
              <a:t>V 4. ročníku mzda v hodnote 4,40Eur/hod.</a:t>
            </a:r>
          </a:p>
        </p:txBody>
      </p:sp>
      <p:sp>
        <p:nvSpPr>
          <p:cNvPr id="26" name="BlokTextu 25">
            <a:extLst>
              <a:ext uri="{FF2B5EF4-FFF2-40B4-BE49-F238E27FC236}">
                <a16:creationId xmlns:a16="http://schemas.microsoft.com/office/drawing/2014/main" id="{18380C94-B918-4DED-9EA3-B961EA870597}"/>
              </a:ext>
            </a:extLst>
          </p:cNvPr>
          <p:cNvSpPr txBox="1"/>
          <p:nvPr/>
        </p:nvSpPr>
        <p:spPr bwMode="gray">
          <a:xfrm>
            <a:off x="2180522" y="2645718"/>
            <a:ext cx="9602846" cy="7812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sk-SK" sz="1200" dirty="0"/>
              <a:t>K mzde za produktívnu prácu možnosť získať prospechové štipendium vo výške 250 – 500 Eur ročne, v prípade splnenia podmienok – dochádzka + prospech.</a:t>
            </a:r>
          </a:p>
        </p:txBody>
      </p:sp>
      <p:sp>
        <p:nvSpPr>
          <p:cNvPr id="27" name="BlokTextu 26">
            <a:extLst>
              <a:ext uri="{FF2B5EF4-FFF2-40B4-BE49-F238E27FC236}">
                <a16:creationId xmlns:a16="http://schemas.microsoft.com/office/drawing/2014/main" id="{219B98BD-5568-4588-BFC5-A64D11736D3A}"/>
              </a:ext>
            </a:extLst>
          </p:cNvPr>
          <p:cNvSpPr txBox="1"/>
          <p:nvPr/>
        </p:nvSpPr>
        <p:spPr bwMode="gray">
          <a:xfrm>
            <a:off x="2180522" y="3637925"/>
            <a:ext cx="9602845" cy="7812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sk-SK" sz="1200" dirty="0"/>
              <a:t>Stravovacia karta </a:t>
            </a:r>
            <a:r>
              <a:rPr lang="sk-SK" sz="1200" dirty="0" err="1"/>
              <a:t>Ticket</a:t>
            </a:r>
            <a:r>
              <a:rPr lang="sk-SK" sz="1200" dirty="0"/>
              <a:t> </a:t>
            </a:r>
            <a:r>
              <a:rPr lang="sk-SK" sz="1200" dirty="0" err="1"/>
              <a:t>Restaurant</a:t>
            </a:r>
            <a:r>
              <a:rPr lang="sk-SK" sz="1200" dirty="0"/>
              <a:t>, na ktorú je každý mesiac nahratý finančný príspevok na stravu.</a:t>
            </a:r>
          </a:p>
          <a:p>
            <a:pPr marL="228594" indent="-22859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sk-SK" sz="1200" dirty="0"/>
              <a:t>Za každý odpracovaný deň nárok na príspevok vo výške 4Eur.</a:t>
            </a:r>
          </a:p>
        </p:txBody>
      </p:sp>
      <p:sp>
        <p:nvSpPr>
          <p:cNvPr id="28" name="BlokTextu 27">
            <a:extLst>
              <a:ext uri="{FF2B5EF4-FFF2-40B4-BE49-F238E27FC236}">
                <a16:creationId xmlns:a16="http://schemas.microsoft.com/office/drawing/2014/main" id="{4A8F1E7D-B8D3-47E6-9480-87276D8715C3}"/>
              </a:ext>
            </a:extLst>
          </p:cNvPr>
          <p:cNvSpPr txBox="1"/>
          <p:nvPr/>
        </p:nvSpPr>
        <p:spPr bwMode="gray">
          <a:xfrm>
            <a:off x="2180520" y="4738478"/>
            <a:ext cx="9602847" cy="7812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sk-SK" sz="1200" dirty="0"/>
              <a:t>Na začiatku školského roka zabezpečenie pracovných pomôcok a zošitov pre všetkých žiakov. </a:t>
            </a:r>
          </a:p>
          <a:p>
            <a:pPr marL="228594" indent="-22859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sk-SK" sz="1200" dirty="0"/>
              <a:t>Žiaci 1. ročníka dostanú navyše praktické školské pomôcky ako napr. fľaša na vodu či obedár. </a:t>
            </a:r>
          </a:p>
        </p:txBody>
      </p:sp>
      <p:sp>
        <p:nvSpPr>
          <p:cNvPr id="29" name="BlokTextu 28">
            <a:extLst>
              <a:ext uri="{FF2B5EF4-FFF2-40B4-BE49-F238E27FC236}">
                <a16:creationId xmlns:a16="http://schemas.microsoft.com/office/drawing/2014/main" id="{5E7A17F8-8FAD-4C11-A340-F0E2E74D549A}"/>
              </a:ext>
            </a:extLst>
          </p:cNvPr>
          <p:cNvSpPr txBox="1"/>
          <p:nvPr/>
        </p:nvSpPr>
        <p:spPr bwMode="gray">
          <a:xfrm>
            <a:off x="2180520" y="5887749"/>
            <a:ext cx="9602848" cy="7812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sk-SK" sz="1200" dirty="0"/>
              <a:t>Darčeky pre dualistov pri príležitosti ich narodenín, Vianoc alebo iných príležitostiach.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B0CC34BF-D9D0-4FDB-BC2F-B5926BAF7DD2}"/>
              </a:ext>
            </a:extLst>
          </p:cNvPr>
          <p:cNvGrpSpPr/>
          <p:nvPr/>
        </p:nvGrpSpPr>
        <p:grpSpPr>
          <a:xfrm>
            <a:off x="407368" y="1384059"/>
            <a:ext cx="1566878" cy="781251"/>
            <a:chOff x="3604744" y="1390449"/>
            <a:chExt cx="1351124" cy="1351124"/>
          </a:xfrm>
        </p:grpSpPr>
        <p:sp>
          <p:nvSpPr>
            <p:cNvPr id="31" name="Ovál 30">
              <a:extLst>
                <a:ext uri="{FF2B5EF4-FFF2-40B4-BE49-F238E27FC236}">
                  <a16:creationId xmlns:a16="http://schemas.microsoft.com/office/drawing/2014/main" id="{35C44005-F2F1-4247-9AA8-50C9049448CE}"/>
                </a:ext>
              </a:extLst>
            </p:cNvPr>
            <p:cNvSpPr/>
            <p:nvPr/>
          </p:nvSpPr>
          <p:spPr>
            <a:xfrm>
              <a:off x="3604744" y="1390449"/>
              <a:ext cx="1351124" cy="1351124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723521"/>
                <a:satOff val="3435"/>
                <a:lumOff val="-254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Ovál 4">
              <a:extLst>
                <a:ext uri="{FF2B5EF4-FFF2-40B4-BE49-F238E27FC236}">
                  <a16:creationId xmlns:a16="http://schemas.microsoft.com/office/drawing/2014/main" id="{67696F50-9B4A-4F15-BADB-0A47E760ADFC}"/>
                </a:ext>
              </a:extLst>
            </p:cNvPr>
            <p:cNvSpPr txBox="1"/>
            <p:nvPr/>
          </p:nvSpPr>
          <p:spPr>
            <a:xfrm>
              <a:off x="3802612" y="1588317"/>
              <a:ext cx="955388" cy="95538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k-SK" sz="1200" dirty="0">
                  <a:solidFill>
                    <a:schemeClr val="tx1"/>
                  </a:solidFill>
                </a:rPr>
                <a:t>Finančné ohodnotenie 3,50 – 4,40</a:t>
              </a:r>
              <a:br>
                <a:rPr lang="sk-SK" sz="1200" dirty="0">
                  <a:solidFill>
                    <a:schemeClr val="tx1"/>
                  </a:solidFill>
                </a:rPr>
              </a:br>
              <a:r>
                <a:rPr lang="sk-SK" sz="1200" dirty="0">
                  <a:solidFill>
                    <a:schemeClr val="tx1"/>
                  </a:solidFill>
                </a:rPr>
                <a:t>Eur/hod</a:t>
              </a:r>
            </a:p>
          </p:txBody>
        </p:sp>
      </p:grpSp>
      <p:grpSp>
        <p:nvGrpSpPr>
          <p:cNvPr id="25" name="Skupina 24">
            <a:extLst>
              <a:ext uri="{FF2B5EF4-FFF2-40B4-BE49-F238E27FC236}">
                <a16:creationId xmlns:a16="http://schemas.microsoft.com/office/drawing/2014/main" id="{93D5D942-4F27-4126-B49B-AC3AB7659E60}"/>
              </a:ext>
            </a:extLst>
          </p:cNvPr>
          <p:cNvGrpSpPr/>
          <p:nvPr/>
        </p:nvGrpSpPr>
        <p:grpSpPr>
          <a:xfrm>
            <a:off x="407368" y="2476504"/>
            <a:ext cx="1566878" cy="781251"/>
            <a:chOff x="3604744" y="1390449"/>
            <a:chExt cx="1351124" cy="1351124"/>
          </a:xfrm>
        </p:grpSpPr>
        <p:sp>
          <p:nvSpPr>
            <p:cNvPr id="45" name="Ovál 30">
              <a:extLst>
                <a:ext uri="{FF2B5EF4-FFF2-40B4-BE49-F238E27FC236}">
                  <a16:creationId xmlns:a16="http://schemas.microsoft.com/office/drawing/2014/main" id="{DE737EC6-E4F6-4812-8EEA-3B41284DDFCE}"/>
                </a:ext>
              </a:extLst>
            </p:cNvPr>
            <p:cNvSpPr/>
            <p:nvPr/>
          </p:nvSpPr>
          <p:spPr>
            <a:xfrm>
              <a:off x="3604744" y="1390449"/>
              <a:ext cx="1351124" cy="1351124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723521"/>
                <a:satOff val="3435"/>
                <a:lumOff val="-254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6" name="Ovál 4">
              <a:extLst>
                <a:ext uri="{FF2B5EF4-FFF2-40B4-BE49-F238E27FC236}">
                  <a16:creationId xmlns:a16="http://schemas.microsoft.com/office/drawing/2014/main" id="{B44E2604-9938-409C-988E-6FA1504C9EAC}"/>
                </a:ext>
              </a:extLst>
            </p:cNvPr>
            <p:cNvSpPr txBox="1"/>
            <p:nvPr/>
          </p:nvSpPr>
          <p:spPr>
            <a:xfrm>
              <a:off x="3802612" y="1588317"/>
              <a:ext cx="955388" cy="95538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k-SK" sz="1200" dirty="0">
                  <a:solidFill>
                    <a:schemeClr val="tx1"/>
                  </a:solidFill>
                </a:rPr>
                <a:t>Prospechové štipendium </a:t>
              </a:r>
              <a:br>
                <a:rPr lang="sk-SK" sz="1200" dirty="0">
                  <a:solidFill>
                    <a:schemeClr val="tx1"/>
                  </a:solidFill>
                </a:rPr>
              </a:br>
              <a:r>
                <a:rPr lang="sk-SK" sz="1200" dirty="0">
                  <a:solidFill>
                    <a:schemeClr val="tx1"/>
                  </a:solidFill>
                </a:rPr>
                <a:t>250 – 500 Eur ročne</a:t>
              </a:r>
            </a:p>
          </p:txBody>
        </p:sp>
      </p:grpSp>
      <p:grpSp>
        <p:nvGrpSpPr>
          <p:cNvPr id="47" name="Skupina 46">
            <a:extLst>
              <a:ext uri="{FF2B5EF4-FFF2-40B4-BE49-F238E27FC236}">
                <a16:creationId xmlns:a16="http://schemas.microsoft.com/office/drawing/2014/main" id="{4B3700E7-1F31-4B6D-A2E0-022099F5996E}"/>
              </a:ext>
            </a:extLst>
          </p:cNvPr>
          <p:cNvGrpSpPr/>
          <p:nvPr/>
        </p:nvGrpSpPr>
        <p:grpSpPr>
          <a:xfrm>
            <a:off x="407368" y="3534126"/>
            <a:ext cx="1566878" cy="781251"/>
            <a:chOff x="3604744" y="1390449"/>
            <a:chExt cx="1351124" cy="1351124"/>
          </a:xfrm>
        </p:grpSpPr>
        <p:sp>
          <p:nvSpPr>
            <p:cNvPr id="48" name="Ovál 30">
              <a:extLst>
                <a:ext uri="{FF2B5EF4-FFF2-40B4-BE49-F238E27FC236}">
                  <a16:creationId xmlns:a16="http://schemas.microsoft.com/office/drawing/2014/main" id="{D142F438-FF45-4FF3-92AE-730F9D06426F}"/>
                </a:ext>
              </a:extLst>
            </p:cNvPr>
            <p:cNvSpPr/>
            <p:nvPr/>
          </p:nvSpPr>
          <p:spPr>
            <a:xfrm>
              <a:off x="3604744" y="1390449"/>
              <a:ext cx="1351124" cy="1351124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723521"/>
                <a:satOff val="3435"/>
                <a:lumOff val="-254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9" name="Ovál 4">
              <a:extLst>
                <a:ext uri="{FF2B5EF4-FFF2-40B4-BE49-F238E27FC236}">
                  <a16:creationId xmlns:a16="http://schemas.microsoft.com/office/drawing/2014/main" id="{2FF15DBD-7B85-4E9E-9BA7-067DAED16F64}"/>
                </a:ext>
              </a:extLst>
            </p:cNvPr>
            <p:cNvSpPr txBox="1"/>
            <p:nvPr/>
          </p:nvSpPr>
          <p:spPr>
            <a:xfrm>
              <a:off x="3802612" y="1588317"/>
              <a:ext cx="955388" cy="95538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k-SK" sz="1200" dirty="0">
                  <a:solidFill>
                    <a:schemeClr val="tx1"/>
                  </a:solidFill>
                </a:rPr>
                <a:t>Príspevok na stravu </a:t>
              </a:r>
              <a:br>
                <a:rPr lang="sk-SK" sz="1200" dirty="0">
                  <a:solidFill>
                    <a:schemeClr val="tx1"/>
                  </a:solidFill>
                </a:rPr>
              </a:br>
              <a:r>
                <a:rPr lang="sk-SK" sz="1200" dirty="0">
                  <a:solidFill>
                    <a:schemeClr val="tx1"/>
                  </a:solidFill>
                </a:rPr>
                <a:t>4 Eur/</a:t>
              </a:r>
              <a:br>
                <a:rPr lang="sk-SK" sz="1200" dirty="0">
                  <a:solidFill>
                    <a:schemeClr val="tx1"/>
                  </a:solidFill>
                </a:rPr>
              </a:br>
              <a:r>
                <a:rPr lang="sk-SK" sz="1200" dirty="0">
                  <a:solidFill>
                    <a:schemeClr val="tx1"/>
                  </a:solidFill>
                </a:rPr>
                <a:t>pracovný deň</a:t>
              </a:r>
            </a:p>
          </p:txBody>
        </p:sp>
      </p:grpSp>
      <p:grpSp>
        <p:nvGrpSpPr>
          <p:cNvPr id="50" name="Skupina 49">
            <a:extLst>
              <a:ext uri="{FF2B5EF4-FFF2-40B4-BE49-F238E27FC236}">
                <a16:creationId xmlns:a16="http://schemas.microsoft.com/office/drawing/2014/main" id="{6E0F391B-39CD-4504-9CDE-64089134E47A}"/>
              </a:ext>
            </a:extLst>
          </p:cNvPr>
          <p:cNvGrpSpPr/>
          <p:nvPr/>
        </p:nvGrpSpPr>
        <p:grpSpPr>
          <a:xfrm>
            <a:off x="407368" y="4591749"/>
            <a:ext cx="1566878" cy="781251"/>
            <a:chOff x="3604744" y="1390449"/>
            <a:chExt cx="1351124" cy="1351124"/>
          </a:xfrm>
        </p:grpSpPr>
        <p:sp>
          <p:nvSpPr>
            <p:cNvPr id="51" name="Ovál 30">
              <a:extLst>
                <a:ext uri="{FF2B5EF4-FFF2-40B4-BE49-F238E27FC236}">
                  <a16:creationId xmlns:a16="http://schemas.microsoft.com/office/drawing/2014/main" id="{64450EA1-1FC4-40FD-B2D7-2B22AB609859}"/>
                </a:ext>
              </a:extLst>
            </p:cNvPr>
            <p:cNvSpPr/>
            <p:nvPr/>
          </p:nvSpPr>
          <p:spPr>
            <a:xfrm>
              <a:off x="3604744" y="1390449"/>
              <a:ext cx="1351124" cy="1351124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723521"/>
                <a:satOff val="3435"/>
                <a:lumOff val="-254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2" name="Ovál 4">
              <a:extLst>
                <a:ext uri="{FF2B5EF4-FFF2-40B4-BE49-F238E27FC236}">
                  <a16:creationId xmlns:a16="http://schemas.microsoft.com/office/drawing/2014/main" id="{CACE2BD5-E6B4-498F-9EB2-46BE49F21CFD}"/>
                </a:ext>
              </a:extLst>
            </p:cNvPr>
            <p:cNvSpPr txBox="1"/>
            <p:nvPr/>
          </p:nvSpPr>
          <p:spPr>
            <a:xfrm>
              <a:off x="3802612" y="1588317"/>
              <a:ext cx="955388" cy="95538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k-SK" sz="1200" dirty="0">
                  <a:solidFill>
                    <a:schemeClr val="tx1"/>
                  </a:solidFill>
                </a:rPr>
                <a:t>Školské a pracovné pomôcky</a:t>
              </a:r>
            </a:p>
          </p:txBody>
        </p:sp>
      </p:grpSp>
      <p:grpSp>
        <p:nvGrpSpPr>
          <p:cNvPr id="53" name="Skupina 52">
            <a:extLst>
              <a:ext uri="{FF2B5EF4-FFF2-40B4-BE49-F238E27FC236}">
                <a16:creationId xmlns:a16="http://schemas.microsoft.com/office/drawing/2014/main" id="{A22E12BD-768A-49B7-99AF-FAF479E00983}"/>
              </a:ext>
            </a:extLst>
          </p:cNvPr>
          <p:cNvGrpSpPr/>
          <p:nvPr/>
        </p:nvGrpSpPr>
        <p:grpSpPr>
          <a:xfrm>
            <a:off x="407368" y="5672053"/>
            <a:ext cx="1566878" cy="781251"/>
            <a:chOff x="3604744" y="1390449"/>
            <a:chExt cx="1351124" cy="1351124"/>
          </a:xfrm>
        </p:grpSpPr>
        <p:sp>
          <p:nvSpPr>
            <p:cNvPr id="54" name="Ovál 30">
              <a:extLst>
                <a:ext uri="{FF2B5EF4-FFF2-40B4-BE49-F238E27FC236}">
                  <a16:creationId xmlns:a16="http://schemas.microsoft.com/office/drawing/2014/main" id="{B4CB9965-7F40-4F0E-B877-41403EF219DE}"/>
                </a:ext>
              </a:extLst>
            </p:cNvPr>
            <p:cNvSpPr/>
            <p:nvPr/>
          </p:nvSpPr>
          <p:spPr>
            <a:xfrm>
              <a:off x="3604744" y="1390449"/>
              <a:ext cx="1351124" cy="1351124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723521"/>
                <a:satOff val="3435"/>
                <a:lumOff val="-254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5" name="Ovál 4">
              <a:extLst>
                <a:ext uri="{FF2B5EF4-FFF2-40B4-BE49-F238E27FC236}">
                  <a16:creationId xmlns:a16="http://schemas.microsoft.com/office/drawing/2014/main" id="{DDF8D34E-B812-4558-A994-B765848A0C7A}"/>
                </a:ext>
              </a:extLst>
            </p:cNvPr>
            <p:cNvSpPr txBox="1"/>
            <p:nvPr/>
          </p:nvSpPr>
          <p:spPr>
            <a:xfrm>
              <a:off x="3802612" y="1588317"/>
              <a:ext cx="955388" cy="95538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k-SK" sz="1200" dirty="0">
                  <a:solidFill>
                    <a:schemeClr val="tx1"/>
                  </a:solidFill>
                </a:rPr>
                <a:t>Hodnotné darček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925870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čísla snímky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50AA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  <p:sp>
        <p:nvSpPr>
          <p:cNvPr id="5" name="Nadpis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Finančné zabezpečenie</a:t>
            </a:r>
          </a:p>
        </p:txBody>
      </p:sp>
      <p:sp>
        <p:nvSpPr>
          <p:cNvPr id="7" name="Zástupný symbol textu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sk-SK" dirty="0">
                <a:latin typeface="Lidl Font Pro" panose="02000000000000000000" pitchFamily="2" charset="0"/>
              </a:rPr>
              <a:t>Duálne vzdelávanie</a:t>
            </a:r>
            <a:endParaRPr lang="de-DE" dirty="0">
              <a:latin typeface="Lidl Font Pro" panose="02000000000000000000" pitchFamily="2" charset="0"/>
            </a:endParaRPr>
          </a:p>
        </p:txBody>
      </p:sp>
      <p:graphicFrame>
        <p:nvGraphicFramePr>
          <p:cNvPr id="22" name="Tabuľka 5">
            <a:extLst>
              <a:ext uri="{FF2B5EF4-FFF2-40B4-BE49-F238E27FC236}">
                <a16:creationId xmlns:a16="http://schemas.microsoft.com/office/drawing/2014/main" id="{A884FB92-BD5C-4EC2-A1FF-870F6C035E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9149844"/>
              </p:ext>
            </p:extLst>
          </p:nvPr>
        </p:nvGraphicFramePr>
        <p:xfrm>
          <a:off x="401768" y="2822338"/>
          <a:ext cx="4038232" cy="2981332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073764">
                  <a:extLst>
                    <a:ext uri="{9D8B030D-6E8A-4147-A177-3AD203B41FA5}">
                      <a16:colId xmlns:a16="http://schemas.microsoft.com/office/drawing/2014/main" val="3996444295"/>
                    </a:ext>
                  </a:extLst>
                </a:gridCol>
                <a:gridCol w="1482234">
                  <a:extLst>
                    <a:ext uri="{9D8B030D-6E8A-4147-A177-3AD203B41FA5}">
                      <a16:colId xmlns:a16="http://schemas.microsoft.com/office/drawing/2014/main" val="1533925425"/>
                    </a:ext>
                  </a:extLst>
                </a:gridCol>
                <a:gridCol w="1482234">
                  <a:extLst>
                    <a:ext uri="{9D8B030D-6E8A-4147-A177-3AD203B41FA5}">
                      <a16:colId xmlns:a16="http://schemas.microsoft.com/office/drawing/2014/main" val="3624072384"/>
                    </a:ext>
                  </a:extLst>
                </a:gridCol>
              </a:tblGrid>
              <a:tr h="1008000">
                <a:tc>
                  <a:txBody>
                    <a:bodyPr/>
                    <a:lstStyle/>
                    <a:p>
                      <a:pPr algn="ctr"/>
                      <a:r>
                        <a:rPr lang="sk-SK" sz="1400" dirty="0"/>
                        <a:t>Ročník štúdia</a:t>
                      </a:r>
                      <a:endParaRPr lang="sk-SK" sz="1400" b="1" dirty="0"/>
                    </a:p>
                  </a:txBody>
                  <a:tcPr marL="121920" marR="121920" marT="60960" marB="6096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b="1" dirty="0"/>
                        <a:t>Aktuálne platové ohodnotenie brutto (hod.)</a:t>
                      </a:r>
                    </a:p>
                  </a:txBody>
                  <a:tcPr marL="121920" marR="121920" marT="60960" marB="6096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b="1" dirty="0"/>
                        <a:t>Odpracované hodiny</a:t>
                      </a:r>
                    </a:p>
                  </a:txBody>
                  <a:tcPr marL="121920" marR="121920" marT="60960" marB="6096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6651850"/>
                  </a:ext>
                </a:extLst>
              </a:tr>
              <a:tr h="493333">
                <a:tc>
                  <a:txBody>
                    <a:bodyPr/>
                    <a:lstStyle/>
                    <a:p>
                      <a:pPr algn="ctr"/>
                      <a:r>
                        <a:rPr lang="sk-SK" sz="1200" b="1" dirty="0"/>
                        <a:t>1. ročník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200" b="1" dirty="0"/>
                        <a:t>3,50 €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200" b="1" dirty="0"/>
                        <a:t>6 hodín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7063340"/>
                  </a:ext>
                </a:extLst>
              </a:tr>
              <a:tr h="493333">
                <a:tc>
                  <a:txBody>
                    <a:bodyPr/>
                    <a:lstStyle/>
                    <a:p>
                      <a:pPr algn="ctr"/>
                      <a:r>
                        <a:rPr lang="sk-SK" sz="1200" b="1" dirty="0"/>
                        <a:t>2. ročník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200" b="1" dirty="0"/>
                        <a:t>3,80 €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200" b="1" dirty="0"/>
                        <a:t>7 hodín 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0246638"/>
                  </a:ext>
                </a:extLst>
              </a:tr>
              <a:tr h="493333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1" dirty="0"/>
                        <a:t>3. ročník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200" b="1" dirty="0"/>
                        <a:t>4,10 €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200" b="1" dirty="0"/>
                        <a:t>7 hodín 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4275486"/>
                  </a:ext>
                </a:extLst>
              </a:tr>
              <a:tr h="493333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200" b="1" dirty="0"/>
                        <a:t>4. ročník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200" b="1" dirty="0"/>
                        <a:t>4,40 €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200" b="1" dirty="0"/>
                        <a:t>7 hodín 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0342038"/>
                  </a:ext>
                </a:extLst>
              </a:tr>
            </a:tbl>
          </a:graphicData>
        </a:graphic>
      </p:graphicFrame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28E43421-10B6-419B-B007-D2C969FA7D9E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401768" y="2349000"/>
            <a:ext cx="5142400" cy="296387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Lidl Font Pro Semibold" panose="02000000000000000000" pitchFamily="2" charset="0"/>
                <a:ea typeface="+mn-ea"/>
                <a:cs typeface="+mn-cs"/>
              </a:defRPr>
            </a:lvl1pPr>
            <a:lvl2pPr marL="0" indent="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1989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64000" indent="-216000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Lidl Font Pro" panose="02000000000000000000" pitchFamily="2" charset="0"/>
              <a:buChar char="−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sk-SK" sz="1600" b="1" i="0" u="sng" strike="noStrike" kern="1200" cap="none" spc="0" normalizeH="0" baseline="0" noProof="0" dirty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1. Hodinová mzda podľa ročníkov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solidFill>
                <a:srgbClr val="0050AA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  <p:sp>
        <p:nvSpPr>
          <p:cNvPr id="21" name="Freihandform: Form 56">
            <a:extLst>
              <a:ext uri="{FF2B5EF4-FFF2-40B4-BE49-F238E27FC236}">
                <a16:creationId xmlns:a16="http://schemas.microsoft.com/office/drawing/2014/main" id="{844ED478-246D-496D-AA4C-B5EC4DBBFA7D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6227918" y="1364856"/>
            <a:ext cx="3684081" cy="2640144"/>
          </a:xfrm>
          <a:custGeom>
            <a:avLst/>
            <a:gdLst>
              <a:gd name="connsiteX0" fmla="*/ 127001 w 3744416"/>
              <a:gd name="connsiteY0" fmla="*/ 0 h 3240297"/>
              <a:gd name="connsiteX1" fmla="*/ 634262 w 3744416"/>
              <a:gd name="connsiteY1" fmla="*/ 0 h 3240297"/>
              <a:gd name="connsiteX2" fmla="*/ 2894130 w 3744416"/>
              <a:gd name="connsiteY2" fmla="*/ 0 h 3240297"/>
              <a:gd name="connsiteX3" fmla="*/ 3617415 w 3744416"/>
              <a:gd name="connsiteY3" fmla="*/ 0 h 3240297"/>
              <a:gd name="connsiteX4" fmla="*/ 3744416 w 3744416"/>
              <a:gd name="connsiteY4" fmla="*/ 127001 h 3240297"/>
              <a:gd name="connsiteX5" fmla="*/ 3744416 w 3744416"/>
              <a:gd name="connsiteY5" fmla="*/ 559055 h 3240297"/>
              <a:gd name="connsiteX6" fmla="*/ 3744416 w 3744416"/>
              <a:gd name="connsiteY6" fmla="*/ 593079 h 3240297"/>
              <a:gd name="connsiteX7" fmla="*/ 3744416 w 3744416"/>
              <a:gd name="connsiteY7" fmla="*/ 2537289 h 3240297"/>
              <a:gd name="connsiteX8" fmla="*/ 3617409 w 3744416"/>
              <a:gd name="connsiteY8" fmla="*/ 2664296 h 3240297"/>
              <a:gd name="connsiteX9" fmla="*/ 2894130 w 3744416"/>
              <a:gd name="connsiteY9" fmla="*/ 2664296 h 3240297"/>
              <a:gd name="connsiteX10" fmla="*/ 2359255 w 3744416"/>
              <a:gd name="connsiteY10" fmla="*/ 2664296 h 3240297"/>
              <a:gd name="connsiteX11" fmla="*/ 1800136 w 3744416"/>
              <a:gd name="connsiteY11" fmla="*/ 2664296 h 3240297"/>
              <a:gd name="connsiteX12" fmla="*/ 1423068 w 3744416"/>
              <a:gd name="connsiteY12" fmla="*/ 3156159 h 3240297"/>
              <a:gd name="connsiteX13" fmla="*/ 1225062 w 3744416"/>
              <a:gd name="connsiteY13" fmla="*/ 3145449 h 3240297"/>
              <a:gd name="connsiteX14" fmla="*/ 1224136 w 3744416"/>
              <a:gd name="connsiteY14" fmla="*/ 3117318 h 3240297"/>
              <a:gd name="connsiteX15" fmla="*/ 1224281 w 3744416"/>
              <a:gd name="connsiteY15" fmla="*/ 2664296 h 3240297"/>
              <a:gd name="connsiteX16" fmla="*/ 634262 w 3744416"/>
              <a:gd name="connsiteY16" fmla="*/ 2664296 h 3240297"/>
              <a:gd name="connsiteX17" fmla="*/ 0 w 3744416"/>
              <a:gd name="connsiteY17" fmla="*/ 2030034 h 3240297"/>
              <a:gd name="connsiteX18" fmla="*/ 0 w 3744416"/>
              <a:gd name="connsiteY18" fmla="*/ 634262 h 3240297"/>
              <a:gd name="connsiteX19" fmla="*/ 2769 w 3744416"/>
              <a:gd name="connsiteY19" fmla="*/ 606794 h 3240297"/>
              <a:gd name="connsiteX20" fmla="*/ 0 w 3744416"/>
              <a:gd name="connsiteY20" fmla="*/ 593079 h 3240297"/>
              <a:gd name="connsiteX21" fmla="*/ 0 w 3744416"/>
              <a:gd name="connsiteY21" fmla="*/ 127001 h 3240297"/>
              <a:gd name="connsiteX22" fmla="*/ 127001 w 3744416"/>
              <a:gd name="connsiteY22" fmla="*/ 0 h 3240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744416" h="3240297">
                <a:moveTo>
                  <a:pt x="127001" y="0"/>
                </a:moveTo>
                <a:lnTo>
                  <a:pt x="634262" y="0"/>
                </a:lnTo>
                <a:lnTo>
                  <a:pt x="2894130" y="0"/>
                </a:lnTo>
                <a:lnTo>
                  <a:pt x="3617415" y="0"/>
                </a:lnTo>
                <a:cubicBezTo>
                  <a:pt x="3687556" y="0"/>
                  <a:pt x="3744416" y="56860"/>
                  <a:pt x="3744416" y="127001"/>
                </a:cubicBezTo>
                <a:lnTo>
                  <a:pt x="3744416" y="559055"/>
                </a:lnTo>
                <a:lnTo>
                  <a:pt x="3744416" y="593079"/>
                </a:lnTo>
                <a:lnTo>
                  <a:pt x="3744416" y="2537289"/>
                </a:lnTo>
                <a:cubicBezTo>
                  <a:pt x="3744416" y="2607433"/>
                  <a:pt x="3687553" y="2664296"/>
                  <a:pt x="3617409" y="2664296"/>
                </a:cubicBezTo>
                <a:lnTo>
                  <a:pt x="2894130" y="2664296"/>
                </a:lnTo>
                <a:lnTo>
                  <a:pt x="2359255" y="2664296"/>
                </a:lnTo>
                <a:lnTo>
                  <a:pt x="1800136" y="2664296"/>
                </a:lnTo>
                <a:lnTo>
                  <a:pt x="1423068" y="3156159"/>
                </a:lnTo>
                <a:cubicBezTo>
                  <a:pt x="1272704" y="3334076"/>
                  <a:pt x="1225452" y="3179879"/>
                  <a:pt x="1225062" y="3145449"/>
                </a:cubicBezTo>
                <a:cubicBezTo>
                  <a:pt x="1225013" y="3143375"/>
                  <a:pt x="1224185" y="3119392"/>
                  <a:pt x="1224136" y="3117318"/>
                </a:cubicBezTo>
                <a:cubicBezTo>
                  <a:pt x="1224185" y="2966311"/>
                  <a:pt x="1224233" y="2815303"/>
                  <a:pt x="1224281" y="2664296"/>
                </a:cubicBezTo>
                <a:lnTo>
                  <a:pt x="634262" y="2664296"/>
                </a:lnTo>
                <a:cubicBezTo>
                  <a:pt x="283969" y="2664296"/>
                  <a:pt x="0" y="2380327"/>
                  <a:pt x="0" y="2030034"/>
                </a:cubicBezTo>
                <a:lnTo>
                  <a:pt x="0" y="634262"/>
                </a:lnTo>
                <a:lnTo>
                  <a:pt x="2769" y="606794"/>
                </a:lnTo>
                <a:lnTo>
                  <a:pt x="0" y="593079"/>
                </a:lnTo>
                <a:lnTo>
                  <a:pt x="0" y="127001"/>
                </a:lnTo>
                <a:cubicBezTo>
                  <a:pt x="0" y="56860"/>
                  <a:pt x="56860" y="0"/>
                  <a:pt x="12700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t>V odpracovanom čase sú už započítané všetky prestávky!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sk-SK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sk-SK" dirty="0">
                <a:solidFill>
                  <a:schemeClr val="bg1"/>
                </a:solidFill>
                <a:latin typeface="Lidl Font Pro"/>
              </a:rPr>
              <a:t>Tie spolu trvajú 45 až 60 minút každý deň.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43593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čísla snímky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Nadpis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Čo Lidl ponúka dualistom v oblasti vzdelávania</a:t>
            </a:r>
          </a:p>
        </p:txBody>
      </p:sp>
      <p:sp>
        <p:nvSpPr>
          <p:cNvPr id="7" name="Zástupný symbol textu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sk-SK" dirty="0"/>
              <a:t>Duálne vzdelávanie</a:t>
            </a:r>
          </a:p>
        </p:txBody>
      </p:sp>
      <p:sp>
        <p:nvSpPr>
          <p:cNvPr id="2" name="BlokTextu 1">
            <a:extLst>
              <a:ext uri="{FF2B5EF4-FFF2-40B4-BE49-F238E27FC236}">
                <a16:creationId xmlns:a16="http://schemas.microsoft.com/office/drawing/2014/main" id="{79B55853-8E38-40CD-A0B0-936B4452EC34}"/>
              </a:ext>
            </a:extLst>
          </p:cNvPr>
          <p:cNvSpPr txBox="1"/>
          <p:nvPr/>
        </p:nvSpPr>
        <p:spPr bwMode="gray">
          <a:xfrm>
            <a:off x="2180522" y="1545276"/>
            <a:ext cx="9602846" cy="7812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sk-SK" sz="1200" dirty="0"/>
              <a:t>Vzdelávanie podľa tematického plánu, ktorý je prispôsobený spoločnosťou Lidl, v súlade s učebnými osnovami. </a:t>
            </a:r>
          </a:p>
          <a:p>
            <a:pPr marL="228594" indent="-22859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sk-SK" sz="1200" dirty="0"/>
              <a:t>Vzdelávanie prebieha pomocou iPadov a moderného vzdelávacieho systému </a:t>
            </a:r>
            <a:r>
              <a:rPr lang="sk-SK" sz="1200" dirty="0" err="1"/>
              <a:t>Leon</a:t>
            </a:r>
            <a:r>
              <a:rPr lang="sk-SK" sz="1200" dirty="0"/>
              <a:t>. </a:t>
            </a:r>
          </a:p>
        </p:txBody>
      </p:sp>
      <p:sp>
        <p:nvSpPr>
          <p:cNvPr id="26" name="BlokTextu 25">
            <a:extLst>
              <a:ext uri="{FF2B5EF4-FFF2-40B4-BE49-F238E27FC236}">
                <a16:creationId xmlns:a16="http://schemas.microsoft.com/office/drawing/2014/main" id="{18380C94-B918-4DED-9EA3-B961EA870597}"/>
              </a:ext>
            </a:extLst>
          </p:cNvPr>
          <p:cNvSpPr txBox="1"/>
          <p:nvPr/>
        </p:nvSpPr>
        <p:spPr bwMode="gray">
          <a:xfrm>
            <a:off x="2180522" y="2645718"/>
            <a:ext cx="9602846" cy="7812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sk-SK" sz="1200" dirty="0"/>
              <a:t>Získanie praktických zručností priamo v praxi – zaškolenie do jednotlivých činností na predajni podľa osnov tematického plánu. </a:t>
            </a:r>
          </a:p>
        </p:txBody>
      </p:sp>
      <p:sp>
        <p:nvSpPr>
          <p:cNvPr id="27" name="BlokTextu 26">
            <a:extLst>
              <a:ext uri="{FF2B5EF4-FFF2-40B4-BE49-F238E27FC236}">
                <a16:creationId xmlns:a16="http://schemas.microsoft.com/office/drawing/2014/main" id="{219B98BD-5568-4588-BFC5-A64D11736D3A}"/>
              </a:ext>
            </a:extLst>
          </p:cNvPr>
          <p:cNvSpPr txBox="1"/>
          <p:nvPr/>
        </p:nvSpPr>
        <p:spPr bwMode="gray">
          <a:xfrm>
            <a:off x="2180522" y="3637925"/>
            <a:ext cx="9602845" cy="7812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sk-SK" sz="1200" dirty="0"/>
              <a:t>Doplnkové vzdelávanie k odborným témam týkajúcich sa praxe pod vedením interných lektorov spoločnosti Lidl. </a:t>
            </a:r>
          </a:p>
          <a:p>
            <a:pPr marL="228594" indent="-22859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sk-SK" sz="1200" dirty="0"/>
              <a:t>V intervale 1 – 2x ročne. </a:t>
            </a:r>
          </a:p>
        </p:txBody>
      </p:sp>
      <p:sp>
        <p:nvSpPr>
          <p:cNvPr id="28" name="BlokTextu 27">
            <a:extLst>
              <a:ext uri="{FF2B5EF4-FFF2-40B4-BE49-F238E27FC236}">
                <a16:creationId xmlns:a16="http://schemas.microsoft.com/office/drawing/2014/main" id="{4A8F1E7D-B8D3-47E6-9480-87276D8715C3}"/>
              </a:ext>
            </a:extLst>
          </p:cNvPr>
          <p:cNvSpPr txBox="1"/>
          <p:nvPr/>
        </p:nvSpPr>
        <p:spPr bwMode="gray">
          <a:xfrm>
            <a:off x="2180520" y="4738478"/>
            <a:ext cx="9602847" cy="7812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sk-SK" sz="1200" dirty="0"/>
              <a:t>Jednodňový rozvojový workshop, ktorý prináša teóriu zážitkovou formou. Realizácia individuálne podľa ročníkov - 1x ročne. </a:t>
            </a:r>
          </a:p>
        </p:txBody>
      </p:sp>
      <p:sp>
        <p:nvSpPr>
          <p:cNvPr id="29" name="BlokTextu 28">
            <a:extLst>
              <a:ext uri="{FF2B5EF4-FFF2-40B4-BE49-F238E27FC236}">
                <a16:creationId xmlns:a16="http://schemas.microsoft.com/office/drawing/2014/main" id="{5E7A17F8-8FAD-4C11-A340-F0E2E74D549A}"/>
              </a:ext>
            </a:extLst>
          </p:cNvPr>
          <p:cNvSpPr txBox="1"/>
          <p:nvPr/>
        </p:nvSpPr>
        <p:spPr bwMode="gray">
          <a:xfrm>
            <a:off x="2180520" y="5887749"/>
            <a:ext cx="9602848" cy="7812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sk-SK" sz="1200" dirty="0"/>
              <a:t>Príprava na budúce povolanie – po skončení duálneho štúdia príležitosť zamestnania na TPP s príležitosťou kariérneho rastu </a:t>
            </a:r>
            <a:br>
              <a:rPr lang="sk-SK" sz="1200" dirty="0"/>
            </a:br>
            <a:r>
              <a:rPr lang="sk-SK" sz="1200" dirty="0"/>
              <a:t>v prosperujúcej spoločnosti. </a:t>
            </a:r>
          </a:p>
        </p:txBody>
      </p: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B0CC34BF-D9D0-4FDB-BC2F-B5926BAF7DD2}"/>
              </a:ext>
            </a:extLst>
          </p:cNvPr>
          <p:cNvGrpSpPr/>
          <p:nvPr/>
        </p:nvGrpSpPr>
        <p:grpSpPr>
          <a:xfrm>
            <a:off x="407368" y="1384059"/>
            <a:ext cx="1566878" cy="781251"/>
            <a:chOff x="3604744" y="1390449"/>
            <a:chExt cx="1351124" cy="1351124"/>
          </a:xfrm>
        </p:grpSpPr>
        <p:sp>
          <p:nvSpPr>
            <p:cNvPr id="31" name="Ovál 30">
              <a:extLst>
                <a:ext uri="{FF2B5EF4-FFF2-40B4-BE49-F238E27FC236}">
                  <a16:creationId xmlns:a16="http://schemas.microsoft.com/office/drawing/2014/main" id="{35C44005-F2F1-4247-9AA8-50C9049448CE}"/>
                </a:ext>
              </a:extLst>
            </p:cNvPr>
            <p:cNvSpPr/>
            <p:nvPr/>
          </p:nvSpPr>
          <p:spPr>
            <a:xfrm>
              <a:off x="3604744" y="1390449"/>
              <a:ext cx="1351124" cy="1351124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723521"/>
                <a:satOff val="3435"/>
                <a:lumOff val="-254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Ovál 4">
              <a:extLst>
                <a:ext uri="{FF2B5EF4-FFF2-40B4-BE49-F238E27FC236}">
                  <a16:creationId xmlns:a16="http://schemas.microsoft.com/office/drawing/2014/main" id="{67696F50-9B4A-4F15-BADB-0A47E760ADFC}"/>
                </a:ext>
              </a:extLst>
            </p:cNvPr>
            <p:cNvSpPr txBox="1"/>
            <p:nvPr/>
          </p:nvSpPr>
          <p:spPr>
            <a:xfrm>
              <a:off x="3802612" y="1588317"/>
              <a:ext cx="955388" cy="95538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sk-SK" sz="1200" kern="1200" dirty="0"/>
                <a:t>Základné vzdelávanie</a:t>
              </a:r>
            </a:p>
          </p:txBody>
        </p:sp>
      </p:grpSp>
      <p:grpSp>
        <p:nvGrpSpPr>
          <p:cNvPr id="33" name="Skupina 32">
            <a:extLst>
              <a:ext uri="{FF2B5EF4-FFF2-40B4-BE49-F238E27FC236}">
                <a16:creationId xmlns:a16="http://schemas.microsoft.com/office/drawing/2014/main" id="{365BFC1B-2018-48E9-A590-E478C265612E}"/>
              </a:ext>
            </a:extLst>
          </p:cNvPr>
          <p:cNvGrpSpPr/>
          <p:nvPr/>
        </p:nvGrpSpPr>
        <p:grpSpPr>
          <a:xfrm>
            <a:off x="407368" y="2476505"/>
            <a:ext cx="1566878" cy="781251"/>
            <a:chOff x="3604744" y="1390449"/>
            <a:chExt cx="1351124" cy="1351124"/>
          </a:xfrm>
        </p:grpSpPr>
        <p:sp>
          <p:nvSpPr>
            <p:cNvPr id="34" name="Ovál 30">
              <a:extLst>
                <a:ext uri="{FF2B5EF4-FFF2-40B4-BE49-F238E27FC236}">
                  <a16:creationId xmlns:a16="http://schemas.microsoft.com/office/drawing/2014/main" id="{334EA986-51BE-4947-9DFD-29ADFFF11D61}"/>
                </a:ext>
              </a:extLst>
            </p:cNvPr>
            <p:cNvSpPr/>
            <p:nvPr/>
          </p:nvSpPr>
          <p:spPr>
            <a:xfrm>
              <a:off x="3604744" y="1390449"/>
              <a:ext cx="1351124" cy="1351124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723521"/>
                <a:satOff val="3435"/>
                <a:lumOff val="-254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5" name="Ovál 4">
              <a:extLst>
                <a:ext uri="{FF2B5EF4-FFF2-40B4-BE49-F238E27FC236}">
                  <a16:creationId xmlns:a16="http://schemas.microsoft.com/office/drawing/2014/main" id="{61722243-FFAE-423B-A03A-FD136D66C7BA}"/>
                </a:ext>
              </a:extLst>
            </p:cNvPr>
            <p:cNvSpPr txBox="1"/>
            <p:nvPr/>
          </p:nvSpPr>
          <p:spPr>
            <a:xfrm>
              <a:off x="3802612" y="1588317"/>
              <a:ext cx="955388" cy="95538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marL="0" lvl="0" indent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sk-SK" sz="1200" dirty="0"/>
                <a:t>Praktické skúsenosti</a:t>
              </a:r>
              <a:endParaRPr lang="sk-SK" sz="1200" kern="1200" dirty="0"/>
            </a:p>
          </p:txBody>
        </p:sp>
      </p:grpSp>
      <p:grpSp>
        <p:nvGrpSpPr>
          <p:cNvPr id="36" name="Skupina 35">
            <a:extLst>
              <a:ext uri="{FF2B5EF4-FFF2-40B4-BE49-F238E27FC236}">
                <a16:creationId xmlns:a16="http://schemas.microsoft.com/office/drawing/2014/main" id="{B5415618-02F3-4A67-AE74-596193DB72D2}"/>
              </a:ext>
            </a:extLst>
          </p:cNvPr>
          <p:cNvGrpSpPr/>
          <p:nvPr/>
        </p:nvGrpSpPr>
        <p:grpSpPr>
          <a:xfrm>
            <a:off x="407368" y="3534127"/>
            <a:ext cx="1566878" cy="781251"/>
            <a:chOff x="3604744" y="1390449"/>
            <a:chExt cx="1351124" cy="1351124"/>
          </a:xfrm>
        </p:grpSpPr>
        <p:sp>
          <p:nvSpPr>
            <p:cNvPr id="37" name="Ovál 30">
              <a:extLst>
                <a:ext uri="{FF2B5EF4-FFF2-40B4-BE49-F238E27FC236}">
                  <a16:creationId xmlns:a16="http://schemas.microsoft.com/office/drawing/2014/main" id="{9F972FF7-A45C-4595-9D3A-047AF1B1C450}"/>
                </a:ext>
              </a:extLst>
            </p:cNvPr>
            <p:cNvSpPr/>
            <p:nvPr/>
          </p:nvSpPr>
          <p:spPr>
            <a:xfrm>
              <a:off x="3604744" y="1390449"/>
              <a:ext cx="1351124" cy="1351124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723521"/>
                <a:satOff val="3435"/>
                <a:lumOff val="-254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8" name="Ovál 4">
              <a:extLst>
                <a:ext uri="{FF2B5EF4-FFF2-40B4-BE49-F238E27FC236}">
                  <a16:creationId xmlns:a16="http://schemas.microsoft.com/office/drawing/2014/main" id="{A0ABB84E-EC6A-4EF7-95BC-C17C4B150984}"/>
                </a:ext>
              </a:extLst>
            </p:cNvPr>
            <p:cNvSpPr txBox="1"/>
            <p:nvPr/>
          </p:nvSpPr>
          <p:spPr>
            <a:xfrm>
              <a:off x="3802612" y="1588317"/>
              <a:ext cx="955388" cy="95538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k-SK" sz="1200" dirty="0"/>
                <a:t>Doplňujúce vzdelávacie workshopy</a:t>
              </a:r>
            </a:p>
          </p:txBody>
        </p:sp>
      </p:grpSp>
      <p:grpSp>
        <p:nvGrpSpPr>
          <p:cNvPr id="39" name="Skupina 38">
            <a:extLst>
              <a:ext uri="{FF2B5EF4-FFF2-40B4-BE49-F238E27FC236}">
                <a16:creationId xmlns:a16="http://schemas.microsoft.com/office/drawing/2014/main" id="{EEDB636E-AEB7-4203-931A-20CBC00412A0}"/>
              </a:ext>
            </a:extLst>
          </p:cNvPr>
          <p:cNvGrpSpPr/>
          <p:nvPr/>
        </p:nvGrpSpPr>
        <p:grpSpPr>
          <a:xfrm>
            <a:off x="407368" y="4591749"/>
            <a:ext cx="1566878" cy="781251"/>
            <a:chOff x="3604744" y="1390449"/>
            <a:chExt cx="1351124" cy="1351124"/>
          </a:xfrm>
        </p:grpSpPr>
        <p:sp>
          <p:nvSpPr>
            <p:cNvPr id="40" name="Ovál 30">
              <a:extLst>
                <a:ext uri="{FF2B5EF4-FFF2-40B4-BE49-F238E27FC236}">
                  <a16:creationId xmlns:a16="http://schemas.microsoft.com/office/drawing/2014/main" id="{DB61C203-76CA-4C24-84B0-24AF7AFC1884}"/>
                </a:ext>
              </a:extLst>
            </p:cNvPr>
            <p:cNvSpPr/>
            <p:nvPr/>
          </p:nvSpPr>
          <p:spPr>
            <a:xfrm>
              <a:off x="3604744" y="1390449"/>
              <a:ext cx="1351124" cy="1351124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723521"/>
                <a:satOff val="3435"/>
                <a:lumOff val="-254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1" name="Ovál 4">
              <a:extLst>
                <a:ext uri="{FF2B5EF4-FFF2-40B4-BE49-F238E27FC236}">
                  <a16:creationId xmlns:a16="http://schemas.microsoft.com/office/drawing/2014/main" id="{565A6831-B821-4A08-87D1-8BEC58F1AD2B}"/>
                </a:ext>
              </a:extLst>
            </p:cNvPr>
            <p:cNvSpPr txBox="1"/>
            <p:nvPr/>
          </p:nvSpPr>
          <p:spPr>
            <a:xfrm>
              <a:off x="3802612" y="1588317"/>
              <a:ext cx="955388" cy="95538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k-SK" sz="1200" dirty="0"/>
                <a:t>Doplňujúce rozvojové workshopy</a:t>
              </a:r>
            </a:p>
          </p:txBody>
        </p:sp>
      </p:grpSp>
      <p:grpSp>
        <p:nvGrpSpPr>
          <p:cNvPr id="42" name="Skupina 41">
            <a:extLst>
              <a:ext uri="{FF2B5EF4-FFF2-40B4-BE49-F238E27FC236}">
                <a16:creationId xmlns:a16="http://schemas.microsoft.com/office/drawing/2014/main" id="{C4E8A6F2-9B46-4D1D-8BDB-758A6CF18855}"/>
              </a:ext>
            </a:extLst>
          </p:cNvPr>
          <p:cNvGrpSpPr/>
          <p:nvPr/>
        </p:nvGrpSpPr>
        <p:grpSpPr>
          <a:xfrm>
            <a:off x="407368" y="5672053"/>
            <a:ext cx="1566878" cy="781251"/>
            <a:chOff x="3604744" y="1390449"/>
            <a:chExt cx="1351124" cy="1351124"/>
          </a:xfrm>
        </p:grpSpPr>
        <p:sp>
          <p:nvSpPr>
            <p:cNvPr id="43" name="Ovál 30">
              <a:extLst>
                <a:ext uri="{FF2B5EF4-FFF2-40B4-BE49-F238E27FC236}">
                  <a16:creationId xmlns:a16="http://schemas.microsoft.com/office/drawing/2014/main" id="{BD21019C-563B-421F-8543-2117D89B94C3}"/>
                </a:ext>
              </a:extLst>
            </p:cNvPr>
            <p:cNvSpPr/>
            <p:nvPr/>
          </p:nvSpPr>
          <p:spPr>
            <a:xfrm>
              <a:off x="3604744" y="1390449"/>
              <a:ext cx="1351124" cy="1351124"/>
            </a:xfrm>
            <a:prstGeom prst="rect">
              <a:avLst/>
            </a:prstGeom>
            <a:solidFill>
              <a:schemeClr val="tx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723521"/>
                <a:satOff val="3435"/>
                <a:lumOff val="-254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4" name="Ovál 4">
              <a:extLst>
                <a:ext uri="{FF2B5EF4-FFF2-40B4-BE49-F238E27FC236}">
                  <a16:creationId xmlns:a16="http://schemas.microsoft.com/office/drawing/2014/main" id="{3DF9A875-48D4-4B18-B5EB-A77D2FC99F5E}"/>
                </a:ext>
              </a:extLst>
            </p:cNvPr>
            <p:cNvSpPr txBox="1"/>
            <p:nvPr/>
          </p:nvSpPr>
          <p:spPr>
            <a:xfrm>
              <a:off x="3802612" y="1588317"/>
              <a:ext cx="955388" cy="95538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lvl="0" algn="ctr" defTabSz="4000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k-SK" sz="1200" dirty="0"/>
                <a:t>Budovanie karié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783769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čísla snímky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Nadpis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Čo Lidl ponúka dualistom v oblasti vzdelávania</a:t>
            </a:r>
          </a:p>
        </p:txBody>
      </p:sp>
      <p:sp>
        <p:nvSpPr>
          <p:cNvPr id="7" name="Zástupný symbol textu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sk-SK" dirty="0"/>
              <a:t>Duálne vzdelávanie</a:t>
            </a:r>
          </a:p>
        </p:txBody>
      </p:sp>
      <p:pic>
        <p:nvPicPr>
          <p:cNvPr id="8" name="Obrázok 7">
            <a:extLst>
              <a:ext uri="{FF2B5EF4-FFF2-40B4-BE49-F238E27FC236}">
                <a16:creationId xmlns:a16="http://schemas.microsoft.com/office/drawing/2014/main" id="{FA2BC955-0CFB-4A98-9778-AD12C9588BB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65" t="9113" r="3125" b="11407"/>
          <a:stretch/>
        </p:blipFill>
        <p:spPr>
          <a:xfrm>
            <a:off x="8880309" y="2372883"/>
            <a:ext cx="3127203" cy="2304255"/>
          </a:xfrm>
          <a:prstGeom prst="rect">
            <a:avLst/>
          </a:prstGeom>
          <a:noFill/>
        </p:spPr>
      </p:pic>
      <p:pic>
        <p:nvPicPr>
          <p:cNvPr id="9" name="Obrázok 8">
            <a:extLst>
              <a:ext uri="{FF2B5EF4-FFF2-40B4-BE49-F238E27FC236}">
                <a16:creationId xmlns:a16="http://schemas.microsoft.com/office/drawing/2014/main" id="{CDCEF56B-0606-4BFC-B85A-23D65F4BAE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6631" y="2731305"/>
            <a:ext cx="8163765" cy="3386025"/>
          </a:xfrm>
          <a:prstGeom prst="rect">
            <a:avLst/>
          </a:prstGeom>
        </p:spPr>
      </p:pic>
      <p:sp>
        <p:nvSpPr>
          <p:cNvPr id="10" name="Textfeld 16">
            <a:hlinkClick r:id="" action="ppaction://noaction"/>
            <a:extLst>
              <a:ext uri="{FF2B5EF4-FFF2-40B4-BE49-F238E27FC236}">
                <a16:creationId xmlns:a16="http://schemas.microsoft.com/office/drawing/2014/main" id="{64DA06F8-0DAE-4741-9A4D-5D797B5DB6E4}"/>
              </a:ext>
            </a:extLst>
          </p:cNvPr>
          <p:cNvSpPr txBox="1"/>
          <p:nvPr/>
        </p:nvSpPr>
        <p:spPr>
          <a:xfrm>
            <a:off x="452036" y="1695328"/>
            <a:ext cx="11376000" cy="34676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de-DE"/>
            </a:defPPr>
            <a:lvl1pPr algn="ctr">
              <a:defRPr sz="1400" b="1">
                <a:solidFill>
                  <a:prstClr val="white"/>
                </a:solidFill>
                <a:latin typeface="Calibri" pitchFamily="34" charset="0"/>
              </a:defRPr>
            </a:lvl1pPr>
          </a:lstStyle>
          <a:p>
            <a:pPr algn="l"/>
            <a:r>
              <a:rPr lang="sk-SK" sz="1600" dirty="0">
                <a:solidFill>
                  <a:schemeClr val="tx1"/>
                </a:solidFill>
                <a:latin typeface="+mj-lt"/>
              </a:rPr>
              <a:t>Študenti pri vzdelávaní v predajni využívajú najmodernejšie technológie.</a:t>
            </a:r>
            <a:endParaRPr lang="de-DE" sz="16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298561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čísla snímky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8FF9B0DE-3FEB-4AA0-B465-B80EF7C1333D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50AA"/>
                </a:solidFill>
                <a:effectLst/>
                <a:uLnTx/>
                <a:uFillTx/>
                <a:latin typeface="Lidl Fon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50AA"/>
              </a:solidFill>
              <a:effectLst/>
              <a:uLnTx/>
              <a:uFillTx/>
              <a:latin typeface="Lidl Font Pro"/>
              <a:ea typeface="+mn-ea"/>
              <a:cs typeface="+mn-cs"/>
            </a:endParaRPr>
          </a:p>
        </p:txBody>
      </p:sp>
      <p:sp>
        <p:nvSpPr>
          <p:cNvPr id="5" name="Nadpis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Prehľad SOŠ, s ktorými spolupracujeme</a:t>
            </a:r>
          </a:p>
        </p:txBody>
      </p:sp>
      <p:sp>
        <p:nvSpPr>
          <p:cNvPr id="7" name="Zástupný symbol textu 6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sk-SK" dirty="0">
                <a:latin typeface="Lidl Font Pro" panose="02000000000000000000" pitchFamily="2" charset="0"/>
              </a:rPr>
              <a:t>Duálne vzdelávanie</a:t>
            </a:r>
            <a:endParaRPr lang="de-DE" dirty="0">
              <a:latin typeface="Lidl Font Pro" panose="02000000000000000000" pitchFamily="2" charset="0"/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FDD5B8FA-D15C-4A0D-930B-A8F5BBA0412B}"/>
              </a:ext>
            </a:extLst>
          </p:cNvPr>
          <p:cNvGrpSpPr/>
          <p:nvPr/>
        </p:nvGrpSpPr>
        <p:grpSpPr>
          <a:xfrm>
            <a:off x="6384000" y="2271950"/>
            <a:ext cx="5679233" cy="2885050"/>
            <a:chOff x="323528" y="907881"/>
            <a:chExt cx="5133120" cy="2607625"/>
          </a:xfrm>
        </p:grpSpPr>
        <p:grpSp>
          <p:nvGrpSpPr>
            <p:cNvPr id="11" name="Skupina 10"/>
            <p:cNvGrpSpPr/>
            <p:nvPr/>
          </p:nvGrpSpPr>
          <p:grpSpPr>
            <a:xfrm>
              <a:off x="323528" y="907881"/>
              <a:ext cx="5133120" cy="2607625"/>
              <a:chOff x="446992" y="970788"/>
              <a:chExt cx="5133120" cy="2607625"/>
            </a:xfrm>
          </p:grpSpPr>
          <p:pic>
            <p:nvPicPr>
              <p:cNvPr id="9" name="Obrázok 8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6992" y="970788"/>
                <a:ext cx="5133120" cy="2607625"/>
              </a:xfrm>
              <a:prstGeom prst="rect">
                <a:avLst/>
              </a:prstGeom>
            </p:spPr>
          </p:pic>
          <p:pic>
            <p:nvPicPr>
              <p:cNvPr id="10" name="Obrázok 9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707904" y="2804115"/>
                <a:ext cx="1493649" cy="678239"/>
              </a:xfrm>
              <a:prstGeom prst="rect">
                <a:avLst/>
              </a:prstGeom>
            </p:spPr>
          </p:pic>
        </p:grpSp>
        <p:sp>
          <p:nvSpPr>
            <p:cNvPr id="16" name="Šípka nadol 15"/>
            <p:cNvSpPr/>
            <p:nvPr/>
          </p:nvSpPr>
          <p:spPr bwMode="gray">
            <a:xfrm>
              <a:off x="1475657" y="2283718"/>
              <a:ext cx="144016" cy="276890"/>
            </a:xfrm>
            <a:prstGeom prst="downArrow">
              <a:avLst/>
            </a:prstGeom>
            <a:solidFill>
              <a:srgbClr val="EE393A"/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E4B900"/>
                </a:solidFill>
                <a:effectLst/>
                <a:uLnTx/>
                <a:uFillTx/>
                <a:latin typeface="Lidl Font Pro"/>
                <a:ea typeface="+mn-ea"/>
                <a:cs typeface="+mn-cs"/>
              </a:endParaRPr>
            </a:p>
          </p:txBody>
        </p:sp>
        <p:sp>
          <p:nvSpPr>
            <p:cNvPr id="17" name="Šípka nadol 16"/>
            <p:cNvSpPr/>
            <p:nvPr/>
          </p:nvSpPr>
          <p:spPr bwMode="gray">
            <a:xfrm>
              <a:off x="558332" y="2464318"/>
              <a:ext cx="144016" cy="276890"/>
            </a:xfrm>
            <a:prstGeom prst="downArrow">
              <a:avLst/>
            </a:prstGeom>
            <a:solidFill>
              <a:srgbClr val="EE393A"/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E4B900"/>
                </a:solidFill>
                <a:effectLst/>
                <a:uLnTx/>
                <a:uFillTx/>
                <a:latin typeface="Lidl Font Pro"/>
                <a:ea typeface="+mn-ea"/>
                <a:cs typeface="+mn-cs"/>
              </a:endParaRPr>
            </a:p>
          </p:txBody>
        </p:sp>
        <p:sp>
          <p:nvSpPr>
            <p:cNvPr id="18" name="Šípka nadol 17"/>
            <p:cNvSpPr/>
            <p:nvPr/>
          </p:nvSpPr>
          <p:spPr bwMode="gray">
            <a:xfrm>
              <a:off x="1403649" y="1522396"/>
              <a:ext cx="144016" cy="276890"/>
            </a:xfrm>
            <a:prstGeom prst="downArrow">
              <a:avLst/>
            </a:prstGeom>
            <a:solidFill>
              <a:srgbClr val="EE393A"/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E4B900"/>
                </a:solidFill>
                <a:effectLst/>
                <a:uLnTx/>
                <a:uFillTx/>
                <a:latin typeface="Lidl Font Pro"/>
                <a:ea typeface="+mn-ea"/>
                <a:cs typeface="+mn-cs"/>
              </a:endParaRPr>
            </a:p>
          </p:txBody>
        </p:sp>
        <p:sp>
          <p:nvSpPr>
            <p:cNvPr id="19" name="Šípka nadol 18"/>
            <p:cNvSpPr/>
            <p:nvPr/>
          </p:nvSpPr>
          <p:spPr bwMode="gray">
            <a:xfrm>
              <a:off x="1212882" y="1717028"/>
              <a:ext cx="144016" cy="276890"/>
            </a:xfrm>
            <a:prstGeom prst="downArrow">
              <a:avLst/>
            </a:prstGeom>
            <a:solidFill>
              <a:srgbClr val="EE393A"/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E4B900"/>
                </a:solidFill>
                <a:effectLst/>
                <a:uLnTx/>
                <a:uFillTx/>
                <a:latin typeface="Lidl Font Pro"/>
                <a:ea typeface="+mn-ea"/>
                <a:cs typeface="+mn-cs"/>
              </a:endParaRPr>
            </a:p>
          </p:txBody>
        </p:sp>
        <p:sp>
          <p:nvSpPr>
            <p:cNvPr id="20" name="Šípka nadol 19"/>
            <p:cNvSpPr/>
            <p:nvPr/>
          </p:nvSpPr>
          <p:spPr bwMode="gray">
            <a:xfrm>
              <a:off x="2051720" y="1091916"/>
              <a:ext cx="144016" cy="276890"/>
            </a:xfrm>
            <a:prstGeom prst="downArrow">
              <a:avLst/>
            </a:prstGeom>
            <a:solidFill>
              <a:srgbClr val="EE393A"/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E4B900"/>
                </a:solidFill>
                <a:effectLst/>
                <a:uLnTx/>
                <a:uFillTx/>
                <a:latin typeface="Lidl Font Pro"/>
                <a:ea typeface="+mn-ea"/>
                <a:cs typeface="+mn-cs"/>
              </a:endParaRPr>
            </a:p>
          </p:txBody>
        </p:sp>
        <p:sp>
          <p:nvSpPr>
            <p:cNvPr id="21" name="Šípka nadol 20"/>
            <p:cNvSpPr/>
            <p:nvPr/>
          </p:nvSpPr>
          <p:spPr bwMode="gray">
            <a:xfrm>
              <a:off x="2339752" y="1993918"/>
              <a:ext cx="144016" cy="276890"/>
            </a:xfrm>
            <a:prstGeom prst="downArrow">
              <a:avLst/>
            </a:prstGeom>
            <a:solidFill>
              <a:srgbClr val="EE393A"/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E4B900"/>
                </a:solidFill>
                <a:effectLst/>
                <a:uLnTx/>
                <a:uFillTx/>
                <a:latin typeface="Lidl Font Pro"/>
                <a:ea typeface="+mn-ea"/>
                <a:cs typeface="+mn-cs"/>
              </a:endParaRPr>
            </a:p>
          </p:txBody>
        </p:sp>
        <p:sp>
          <p:nvSpPr>
            <p:cNvPr id="22" name="Šípka nadol 21"/>
            <p:cNvSpPr/>
            <p:nvPr/>
          </p:nvSpPr>
          <p:spPr bwMode="gray">
            <a:xfrm>
              <a:off x="4187248" y="1717028"/>
              <a:ext cx="144016" cy="276890"/>
            </a:xfrm>
            <a:prstGeom prst="downArrow">
              <a:avLst/>
            </a:prstGeom>
            <a:solidFill>
              <a:srgbClr val="EE393A"/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E4B900"/>
                </a:solidFill>
                <a:effectLst/>
                <a:uLnTx/>
                <a:uFillTx/>
                <a:latin typeface="Lidl Font Pro"/>
                <a:ea typeface="+mn-ea"/>
                <a:cs typeface="+mn-cs"/>
              </a:endParaRPr>
            </a:p>
          </p:txBody>
        </p:sp>
        <p:sp>
          <p:nvSpPr>
            <p:cNvPr id="23" name="Šípka nadol 22"/>
            <p:cNvSpPr/>
            <p:nvPr/>
          </p:nvSpPr>
          <p:spPr bwMode="gray">
            <a:xfrm>
              <a:off x="4187248" y="1371953"/>
              <a:ext cx="144016" cy="276890"/>
            </a:xfrm>
            <a:prstGeom prst="downArrow">
              <a:avLst/>
            </a:prstGeom>
            <a:solidFill>
              <a:srgbClr val="EE393A"/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E4B900"/>
                </a:solidFill>
                <a:effectLst/>
                <a:uLnTx/>
                <a:uFillTx/>
                <a:latin typeface="Lidl Font Pro"/>
                <a:ea typeface="+mn-ea"/>
                <a:cs typeface="+mn-cs"/>
              </a:endParaRPr>
            </a:p>
          </p:txBody>
        </p:sp>
        <p:sp>
          <p:nvSpPr>
            <p:cNvPr id="24" name="Šípka nadol 23"/>
            <p:cNvSpPr/>
            <p:nvPr/>
          </p:nvSpPr>
          <p:spPr bwMode="gray">
            <a:xfrm>
              <a:off x="2795448" y="1349323"/>
              <a:ext cx="144016" cy="276890"/>
            </a:xfrm>
            <a:prstGeom prst="downArrow">
              <a:avLst/>
            </a:prstGeom>
            <a:solidFill>
              <a:srgbClr val="EE393A"/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E4B900"/>
                </a:solidFill>
                <a:effectLst/>
                <a:uLnTx/>
                <a:uFillTx/>
                <a:latin typeface="Lidl Font Pro"/>
                <a:ea typeface="+mn-ea"/>
                <a:cs typeface="+mn-cs"/>
              </a:endParaRPr>
            </a:p>
          </p:txBody>
        </p:sp>
        <p:sp>
          <p:nvSpPr>
            <p:cNvPr id="25" name="Šípka nadol 24"/>
            <p:cNvSpPr/>
            <p:nvPr/>
          </p:nvSpPr>
          <p:spPr bwMode="gray">
            <a:xfrm>
              <a:off x="3340618" y="1368886"/>
              <a:ext cx="144016" cy="276890"/>
            </a:xfrm>
            <a:prstGeom prst="downArrow">
              <a:avLst/>
            </a:prstGeom>
            <a:solidFill>
              <a:srgbClr val="EE393A"/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E4B900"/>
                </a:solidFill>
                <a:effectLst/>
                <a:uLnTx/>
                <a:uFillTx/>
                <a:latin typeface="Lidl Font Pro"/>
                <a:ea typeface="+mn-ea"/>
                <a:cs typeface="+mn-cs"/>
              </a:endParaRPr>
            </a:p>
          </p:txBody>
        </p:sp>
        <p:sp>
          <p:nvSpPr>
            <p:cNvPr id="26" name="Šípka nadol 24">
              <a:extLst>
                <a:ext uri="{FF2B5EF4-FFF2-40B4-BE49-F238E27FC236}">
                  <a16:creationId xmlns:a16="http://schemas.microsoft.com/office/drawing/2014/main" id="{8D4F90CA-32AD-4480-AE10-50872F58FC8F}"/>
                </a:ext>
              </a:extLst>
            </p:cNvPr>
            <p:cNvSpPr/>
            <p:nvPr/>
          </p:nvSpPr>
          <p:spPr bwMode="gray">
            <a:xfrm>
              <a:off x="1649633" y="1252708"/>
              <a:ext cx="144016" cy="276890"/>
            </a:xfrm>
            <a:prstGeom prst="downArrow">
              <a:avLst/>
            </a:prstGeom>
            <a:solidFill>
              <a:srgbClr val="00B050"/>
            </a:solidFill>
            <a:ln w="952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E4B900"/>
                </a:solidFill>
                <a:effectLst/>
                <a:uLnTx/>
                <a:uFillTx/>
                <a:latin typeface="Lidl Font Pro"/>
                <a:ea typeface="+mn-ea"/>
                <a:cs typeface="+mn-cs"/>
              </a:endParaRPr>
            </a:p>
          </p:txBody>
        </p:sp>
        <p:sp>
          <p:nvSpPr>
            <p:cNvPr id="27" name="Šípka nadol 24">
              <a:extLst>
                <a:ext uri="{FF2B5EF4-FFF2-40B4-BE49-F238E27FC236}">
                  <a16:creationId xmlns:a16="http://schemas.microsoft.com/office/drawing/2014/main" id="{C5749E0A-B4C4-4FB5-8165-D5D90F971C67}"/>
                </a:ext>
              </a:extLst>
            </p:cNvPr>
            <p:cNvSpPr/>
            <p:nvPr/>
          </p:nvSpPr>
          <p:spPr bwMode="gray">
            <a:xfrm>
              <a:off x="2202592" y="1312455"/>
              <a:ext cx="144016" cy="276890"/>
            </a:xfrm>
            <a:prstGeom prst="downArrow">
              <a:avLst/>
            </a:prstGeom>
            <a:solidFill>
              <a:srgbClr val="00B050"/>
            </a:solidFill>
            <a:ln w="952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sk-SK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E4B900"/>
                </a:solidFill>
                <a:effectLst/>
                <a:uLnTx/>
                <a:uFillTx/>
                <a:latin typeface="Lidl Font Pro"/>
                <a:ea typeface="+mn-ea"/>
                <a:cs typeface="+mn-cs"/>
              </a:endParaRPr>
            </a:p>
          </p:txBody>
        </p:sp>
      </p:grpSp>
      <p:graphicFrame>
        <p:nvGraphicFramePr>
          <p:cNvPr id="28" name="Tabuľka 3">
            <a:extLst>
              <a:ext uri="{FF2B5EF4-FFF2-40B4-BE49-F238E27FC236}">
                <a16:creationId xmlns:a16="http://schemas.microsoft.com/office/drawing/2014/main" id="{F86521C5-C4C2-4C2B-8C13-904AF5F33845}"/>
              </a:ext>
            </a:extLst>
          </p:cNvPr>
          <p:cNvGraphicFramePr>
            <a:graphicFrameLocks noGrp="1"/>
          </p:cNvGraphicFramePr>
          <p:nvPr/>
        </p:nvGraphicFramePr>
        <p:xfrm>
          <a:off x="407368" y="1676870"/>
          <a:ext cx="5655834" cy="4206015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885278">
                  <a:extLst>
                    <a:ext uri="{9D8B030D-6E8A-4147-A177-3AD203B41FA5}">
                      <a16:colId xmlns:a16="http://schemas.microsoft.com/office/drawing/2014/main" val="979991239"/>
                    </a:ext>
                  </a:extLst>
                </a:gridCol>
                <a:gridCol w="1885278">
                  <a:extLst>
                    <a:ext uri="{9D8B030D-6E8A-4147-A177-3AD203B41FA5}">
                      <a16:colId xmlns:a16="http://schemas.microsoft.com/office/drawing/2014/main" val="2831571424"/>
                    </a:ext>
                  </a:extLst>
                </a:gridCol>
                <a:gridCol w="1885278">
                  <a:extLst>
                    <a:ext uri="{9D8B030D-6E8A-4147-A177-3AD203B41FA5}">
                      <a16:colId xmlns:a16="http://schemas.microsoft.com/office/drawing/2014/main" val="808055729"/>
                    </a:ext>
                  </a:extLst>
                </a:gridCol>
              </a:tblGrid>
              <a:tr h="554431">
                <a:tc>
                  <a:txBody>
                    <a:bodyPr/>
                    <a:lstStyle/>
                    <a:p>
                      <a:pPr algn="ctr"/>
                      <a:r>
                        <a:rPr lang="sk-SK" sz="1400" dirty="0"/>
                        <a:t>LC Nemšová</a:t>
                      </a:r>
                    </a:p>
                    <a:p>
                      <a:pPr algn="ctr"/>
                      <a:r>
                        <a:rPr lang="sk-SK" sz="1400" b="0" dirty="0"/>
                        <a:t>6 SOŠ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/>
                        <a:t>LC Prešov</a:t>
                      </a:r>
                    </a:p>
                    <a:p>
                      <a:pPr algn="ctr"/>
                      <a:r>
                        <a:rPr lang="sk-SK" sz="1400" b="0" dirty="0"/>
                        <a:t>4 SOŠ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/>
                        <a:t>LC Sereď</a:t>
                      </a:r>
                    </a:p>
                    <a:p>
                      <a:pPr algn="ctr"/>
                      <a:r>
                        <a:rPr lang="sk-SK" sz="1400" b="0" dirty="0"/>
                        <a:t>2 SOŠ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8061345"/>
                  </a:ext>
                </a:extLst>
              </a:tr>
              <a:tr h="554431">
                <a:tc>
                  <a:txBody>
                    <a:bodyPr/>
                    <a:lstStyle/>
                    <a:p>
                      <a:pPr algn="ctr"/>
                      <a:r>
                        <a:rPr lang="sk-SK" sz="1200" b="1" dirty="0"/>
                        <a:t>Trenčín</a:t>
                      </a:r>
                      <a:br>
                        <a:rPr lang="sk-SK" sz="1200" dirty="0"/>
                      </a:br>
                      <a:r>
                        <a:rPr lang="sk-SK" sz="1200" dirty="0"/>
                        <a:t>SOŠ obchodu a služie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200" b="1" dirty="0"/>
                        <a:t>Košice</a:t>
                      </a:r>
                      <a:br>
                        <a:rPr lang="sk-SK" sz="1200" dirty="0"/>
                      </a:br>
                      <a:r>
                        <a:rPr lang="sk-SK" sz="1200" dirty="0"/>
                        <a:t>SOŠ J. </a:t>
                      </a:r>
                      <a:r>
                        <a:rPr lang="sk-SK" sz="1200" dirty="0" err="1"/>
                        <a:t>Bociata</a:t>
                      </a:r>
                      <a:endParaRPr lang="sk-SK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200" b="1" dirty="0"/>
                        <a:t>Nitra</a:t>
                      </a:r>
                      <a:br>
                        <a:rPr lang="sk-SK" sz="1200" dirty="0"/>
                      </a:br>
                      <a:r>
                        <a:rPr lang="sk-SK" sz="1200" dirty="0"/>
                        <a:t>SOŠ Potravinársk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7466676"/>
                  </a:ext>
                </a:extLst>
              </a:tr>
              <a:tr h="716930">
                <a:tc>
                  <a:txBody>
                    <a:bodyPr/>
                    <a:lstStyle/>
                    <a:p>
                      <a:pPr algn="ctr"/>
                      <a:r>
                        <a:rPr lang="sk-SK" sz="1200" b="1" dirty="0"/>
                        <a:t>Nové Mesto nad Váhom</a:t>
                      </a:r>
                      <a:br>
                        <a:rPr lang="sk-SK" sz="1200" dirty="0"/>
                      </a:br>
                      <a:r>
                        <a:rPr lang="sk-SK" sz="1200" dirty="0"/>
                        <a:t>SOŠ obchodu a služie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200" b="1" dirty="0"/>
                        <a:t>Prešov</a:t>
                      </a:r>
                      <a:br>
                        <a:rPr lang="sk-SK" sz="1200" dirty="0"/>
                      </a:br>
                      <a:r>
                        <a:rPr lang="sk-SK" sz="1200" dirty="0"/>
                        <a:t>SOŠ obchodu a služie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200" b="1" dirty="0"/>
                        <a:t>Bratislava</a:t>
                      </a:r>
                      <a:br>
                        <a:rPr lang="sk-SK" sz="1200" dirty="0"/>
                      </a:br>
                      <a:r>
                        <a:rPr lang="sk-SK" sz="1200" dirty="0"/>
                        <a:t>SOŠ Obchodu a služieb S. Jurkovič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5491412"/>
                  </a:ext>
                </a:extLst>
              </a:tr>
              <a:tr h="554431">
                <a:tc>
                  <a:txBody>
                    <a:bodyPr/>
                    <a:lstStyle/>
                    <a:p>
                      <a:pPr algn="ctr"/>
                      <a:r>
                        <a:rPr lang="sk-SK" sz="1200" b="1" dirty="0"/>
                        <a:t>Žilina</a:t>
                      </a:r>
                      <a:br>
                        <a:rPr lang="sk-SK" sz="1200" dirty="0"/>
                      </a:br>
                      <a:r>
                        <a:rPr lang="sk-SK" sz="1200" dirty="0"/>
                        <a:t>SOŠ podnikani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200" b="1" dirty="0"/>
                        <a:t>Liptovský Mikuláš</a:t>
                      </a:r>
                      <a:br>
                        <a:rPr lang="sk-SK" sz="1200" dirty="0"/>
                      </a:br>
                      <a:r>
                        <a:rPr lang="sk-SK" sz="1200" dirty="0"/>
                        <a:t>Hotelová akadémi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k-SK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4658856"/>
                  </a:ext>
                </a:extLst>
              </a:tr>
              <a:tr h="716930">
                <a:tc>
                  <a:txBody>
                    <a:bodyPr/>
                    <a:lstStyle/>
                    <a:p>
                      <a:pPr algn="ctr"/>
                      <a:r>
                        <a:rPr lang="sk-SK" sz="1200" b="1" dirty="0"/>
                        <a:t>Zvolen</a:t>
                      </a:r>
                      <a:br>
                        <a:rPr lang="sk-SK" sz="1200" dirty="0"/>
                      </a:br>
                      <a:r>
                        <a:rPr lang="sk-SK" sz="1200" dirty="0"/>
                        <a:t>SOŠ hotelových služieb a obchodu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200" b="1" dirty="0"/>
                        <a:t>Poprad</a:t>
                      </a:r>
                      <a:br>
                        <a:rPr lang="sk-SK" sz="1200" dirty="0"/>
                      </a:br>
                      <a:r>
                        <a:rPr lang="sk-SK" sz="1200" dirty="0"/>
                        <a:t>SOŠ remesiel a služie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k-SK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30099056"/>
                  </a:ext>
                </a:extLst>
              </a:tr>
              <a:tr h="554431">
                <a:tc>
                  <a:txBody>
                    <a:bodyPr/>
                    <a:lstStyle/>
                    <a:p>
                      <a:pPr algn="ctr"/>
                      <a:r>
                        <a:rPr lang="sk-SK" sz="1200" b="1" dirty="0"/>
                        <a:t>Púchov </a:t>
                      </a:r>
                      <a:br>
                        <a:rPr lang="sk-SK" sz="1200" dirty="0"/>
                      </a:br>
                      <a:r>
                        <a:rPr lang="sk-SK" sz="1200" dirty="0"/>
                        <a:t>SOŠ obchodu a služie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k-SK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k-SK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354564"/>
                  </a:ext>
                </a:extLst>
              </a:tr>
              <a:tr h="554431">
                <a:tc>
                  <a:txBody>
                    <a:bodyPr/>
                    <a:lstStyle/>
                    <a:p>
                      <a:pPr algn="ctr"/>
                      <a:r>
                        <a:rPr lang="sk-SK" sz="1200" b="1" dirty="0"/>
                        <a:t>Martin</a:t>
                      </a:r>
                      <a:br>
                        <a:rPr lang="sk-SK" sz="1200" dirty="0"/>
                      </a:br>
                      <a:r>
                        <a:rPr lang="sk-SK" sz="1200" dirty="0"/>
                        <a:t>SOŠ obchodu a služie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k-SK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k-SK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71803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80811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DO_REDO_REVISION" val="0"/>
  <p:tag name="DEFAULTLANGUAGEID" val="1031"/>
  <p:tag name="VCT_SHOW_CA" val="Fals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Fn1334LfHHaxSd1lL5c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.6rAp3NnqIxy_Aw1ETc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.6rAp3NnqIxy_Aw1ETc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.6rAp3NnqIxy_Aw1ETc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.6rAp3NnqIxy_Aw1ETc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.6rAp3NnqIxy_Aw1ETc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.6rAp3NnqIxy_Aw1ETc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yiADlaJppz2TpK4eab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DAiRcRoHj35EiklzSWi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dl Master">
  <a:themeElements>
    <a:clrScheme name="Lidl">
      <a:dk1>
        <a:srgbClr val="0050AA"/>
      </a:dk1>
      <a:lt1>
        <a:sysClr val="window" lastClr="FFFFFF"/>
      </a:lt1>
      <a:dk2>
        <a:srgbClr val="E60A14"/>
      </a:dk2>
      <a:lt2>
        <a:srgbClr val="FFF000"/>
      </a:lt2>
      <a:accent1>
        <a:srgbClr val="E4B900"/>
      </a:accent1>
      <a:accent2>
        <a:srgbClr val="CA144B"/>
      </a:accent2>
      <a:accent3>
        <a:srgbClr val="63AF89"/>
      </a:accent3>
      <a:accent4>
        <a:srgbClr val="3C83A2"/>
      </a:accent4>
      <a:accent5>
        <a:srgbClr val="D8671B"/>
      </a:accent5>
      <a:accent6>
        <a:srgbClr val="6F9D2D"/>
      </a:accent6>
      <a:hlink>
        <a:srgbClr val="0050AA"/>
      </a:hlink>
      <a:folHlink>
        <a:srgbClr val="0050AA"/>
      </a:folHlink>
    </a:clrScheme>
    <a:fontScheme name="Lidl">
      <a:majorFont>
        <a:latin typeface="Lidl Font Pro"/>
        <a:ea typeface=""/>
        <a:cs typeface=""/>
      </a:majorFont>
      <a:minorFont>
        <a:latin typeface="Lidl Fo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gradFill>
          <a:gsLst>
            <a:gs pos="0">
              <a:srgbClr val="006FB9"/>
            </a:gs>
            <a:gs pos="60000">
              <a:srgbClr val="0050AA"/>
            </a:gs>
            <a:gs pos="100000">
              <a:srgbClr val="003565"/>
            </a:gs>
          </a:gsLst>
          <a:lin ang="0" scaled="0"/>
        </a:gradFill>
        <a:ln w="6350">
          <a:noFill/>
        </a:ln>
      </a:spPr>
      <a:bodyPr rtlCol="0" anchor="ctr"/>
      <a:lstStyle>
        <a:defPPr algn="ctr">
          <a:defRPr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/>
    </a:txDef>
  </a:objectDefaults>
  <a:extraClrSchemeLst/>
  <a:custClrLst>
    <a:custClr name="Blau-Verlauf 1">
      <a:srgbClr val="003565"/>
    </a:custClr>
    <a:custClr name="Rot-Verlauf 1">
      <a:srgbClr val="730F05"/>
    </a:custClr>
    <a:custClr name="Gelb-Verlauf 1">
      <a:srgbClr val="FFA000"/>
    </a:custClr>
    <a:custClr>
      <a:srgbClr val="FFFFFF"/>
    </a:custClr>
    <a:custClr name="Diagrammfarbe 1 | 50%">
      <a:srgbClr val="F3DB96"/>
    </a:custClr>
    <a:custClr name="Diagrammfarbe 2 | 50%">
      <a:srgbClr val="E5979C"/>
    </a:custClr>
    <a:custClr name="Diagrammfarbe 3 | 50%">
      <a:srgbClr val="BBD7C4"/>
    </a:custClr>
    <a:custClr name="Diagrammfarbe 4 | 50%">
      <a:srgbClr val="A7BCCF"/>
    </a:custClr>
    <a:custClr name="Diagrammfarbe 5 | 50%">
      <a:srgbClr val="EDB689"/>
    </a:custClr>
    <a:custClr name="Diagrammfarbe 6 | 50%">
      <a:srgbClr val="BDCC95"/>
    </a:custClr>
    <a:custClr name="Blau-Verlauf 2">
      <a:srgbClr val="0050AA"/>
    </a:custClr>
    <a:custClr name="Rot-Verlauf 2">
      <a:srgbClr val="E60A14"/>
    </a:custClr>
    <a:custClr name="Gelb-Verlauf 2">
      <a:srgbClr val="FFF0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8A8197"/>
    </a:custClr>
    <a:custClr>
      <a:srgbClr val="000000"/>
    </a:custClr>
    <a:custClr name="Blau-Verlauf 3">
      <a:srgbClr val="006FB9"/>
    </a:custClr>
    <a:custClr name="Rot-Verlauf 3">
      <a:srgbClr val="E63C14"/>
    </a:custClr>
    <a:custClr name="Gelb-Verlauf 3">
      <a:srgbClr val="FFF05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Lidl_Update_Folienbibliothek.potx" id="{FE4A25DF-5687-4213-A1DA-E1BA10981612}" vid="{5DED7764-AF17-4E65-9BA6-B76BDB2E8896}"/>
    </a:ext>
  </a:extLst>
</a:theme>
</file>

<file path=ppt/theme/theme2.xml><?xml version="1.0" encoding="utf-8"?>
<a:theme xmlns:a="http://schemas.openxmlformats.org/drawingml/2006/main" name="2_Lidl Master">
  <a:themeElements>
    <a:clrScheme name="Lidl">
      <a:dk1>
        <a:srgbClr val="0050AA"/>
      </a:dk1>
      <a:lt1>
        <a:sysClr val="window" lastClr="FFFFFF"/>
      </a:lt1>
      <a:dk2>
        <a:srgbClr val="E60A14"/>
      </a:dk2>
      <a:lt2>
        <a:srgbClr val="FFF000"/>
      </a:lt2>
      <a:accent1>
        <a:srgbClr val="E4B900"/>
      </a:accent1>
      <a:accent2>
        <a:srgbClr val="CA144B"/>
      </a:accent2>
      <a:accent3>
        <a:srgbClr val="63AF89"/>
      </a:accent3>
      <a:accent4>
        <a:srgbClr val="3C83A2"/>
      </a:accent4>
      <a:accent5>
        <a:srgbClr val="D8671B"/>
      </a:accent5>
      <a:accent6>
        <a:srgbClr val="6F9D2D"/>
      </a:accent6>
      <a:hlink>
        <a:srgbClr val="0050AA"/>
      </a:hlink>
      <a:folHlink>
        <a:srgbClr val="0050AA"/>
      </a:folHlink>
    </a:clrScheme>
    <a:fontScheme name="Lidl">
      <a:majorFont>
        <a:latin typeface="Lidl Font Pro"/>
        <a:ea typeface=""/>
        <a:cs typeface=""/>
      </a:majorFont>
      <a:minorFont>
        <a:latin typeface="Lidl Fo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gradFill>
          <a:gsLst>
            <a:gs pos="0">
              <a:srgbClr val="006FB9"/>
            </a:gs>
            <a:gs pos="60000">
              <a:srgbClr val="0050AA"/>
            </a:gs>
            <a:gs pos="100000">
              <a:srgbClr val="003565"/>
            </a:gs>
          </a:gsLst>
          <a:lin ang="0" scaled="0"/>
        </a:gradFill>
        <a:ln w="6350">
          <a:noFill/>
        </a:ln>
      </a:spPr>
      <a:bodyPr rtlCol="0" anchor="ctr"/>
      <a:lstStyle>
        <a:defPPr algn="ctr">
          <a:defRPr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/>
    </a:txDef>
  </a:objectDefaults>
  <a:extraClrSchemeLst/>
  <a:custClrLst>
    <a:custClr name="Blau-Verlauf 1">
      <a:srgbClr val="003565"/>
    </a:custClr>
    <a:custClr name="Rot-Verlauf 1">
      <a:srgbClr val="730F05"/>
    </a:custClr>
    <a:custClr name="Gelb-Verlauf 1">
      <a:srgbClr val="FFA000"/>
    </a:custClr>
    <a:custClr>
      <a:srgbClr val="FFFFFF"/>
    </a:custClr>
    <a:custClr name="Diagrammfarbe 1 | 50%">
      <a:srgbClr val="F3DB96"/>
    </a:custClr>
    <a:custClr name="Diagrammfarbe 2 | 50%">
      <a:srgbClr val="E5979C"/>
    </a:custClr>
    <a:custClr name="Diagrammfarbe 3 | 50%">
      <a:srgbClr val="BBD7C4"/>
    </a:custClr>
    <a:custClr name="Diagrammfarbe 4 | 50%">
      <a:srgbClr val="A7BCCF"/>
    </a:custClr>
    <a:custClr name="Diagrammfarbe 5 | 50%">
      <a:srgbClr val="EDB689"/>
    </a:custClr>
    <a:custClr name="Diagrammfarbe 6 | 50%">
      <a:srgbClr val="BDCC95"/>
    </a:custClr>
    <a:custClr name="Blau-Verlauf 2">
      <a:srgbClr val="0050AA"/>
    </a:custClr>
    <a:custClr name="Rot-Verlauf 2">
      <a:srgbClr val="E60A14"/>
    </a:custClr>
    <a:custClr name="Gelb-Verlauf 2">
      <a:srgbClr val="FFF0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8A8197"/>
    </a:custClr>
    <a:custClr>
      <a:srgbClr val="000000"/>
    </a:custClr>
    <a:custClr name="Blau-Verlauf 3">
      <a:srgbClr val="006FB9"/>
    </a:custClr>
    <a:custClr name="Rot-Verlauf 3">
      <a:srgbClr val="E63C14"/>
    </a:custClr>
    <a:custClr name="Gelb-Verlauf 3">
      <a:srgbClr val="FFF05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Lidl_Update_Folienbibliothek.potx" id="{FE4A25DF-5687-4213-A1DA-E1BA10981612}" vid="{5DED7764-AF17-4E65-9BA6-B76BDB2E8896}"/>
    </a:ext>
  </a:extLst>
</a:theme>
</file>

<file path=ppt/theme/theme3.xml><?xml version="1.0" encoding="utf-8"?>
<a:theme xmlns:a="http://schemas.openxmlformats.org/drawingml/2006/main" name="5_Lidl Master">
  <a:themeElements>
    <a:clrScheme name="Lidl">
      <a:dk1>
        <a:srgbClr val="0050AA"/>
      </a:dk1>
      <a:lt1>
        <a:sysClr val="window" lastClr="FFFFFF"/>
      </a:lt1>
      <a:dk2>
        <a:srgbClr val="E60A14"/>
      </a:dk2>
      <a:lt2>
        <a:srgbClr val="FFF000"/>
      </a:lt2>
      <a:accent1>
        <a:srgbClr val="E4B900"/>
      </a:accent1>
      <a:accent2>
        <a:srgbClr val="CA144B"/>
      </a:accent2>
      <a:accent3>
        <a:srgbClr val="63AF89"/>
      </a:accent3>
      <a:accent4>
        <a:srgbClr val="3C83A2"/>
      </a:accent4>
      <a:accent5>
        <a:srgbClr val="D8671B"/>
      </a:accent5>
      <a:accent6>
        <a:srgbClr val="6F9D2D"/>
      </a:accent6>
      <a:hlink>
        <a:srgbClr val="0050AA"/>
      </a:hlink>
      <a:folHlink>
        <a:srgbClr val="0050AA"/>
      </a:folHlink>
    </a:clrScheme>
    <a:fontScheme name="Lidl">
      <a:majorFont>
        <a:latin typeface="Lidl Font Pro"/>
        <a:ea typeface=""/>
        <a:cs typeface=""/>
      </a:majorFont>
      <a:minorFont>
        <a:latin typeface="Lidl Fo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gradFill>
          <a:gsLst>
            <a:gs pos="0">
              <a:srgbClr val="006FB9"/>
            </a:gs>
            <a:gs pos="60000">
              <a:srgbClr val="0050AA"/>
            </a:gs>
            <a:gs pos="100000">
              <a:srgbClr val="003565"/>
            </a:gs>
          </a:gsLst>
          <a:lin ang="0" scaled="0"/>
        </a:gradFill>
        <a:ln w="6350">
          <a:noFill/>
        </a:ln>
      </a:spPr>
      <a:bodyPr rtlCol="0" anchor="ctr"/>
      <a:lstStyle>
        <a:defPPr algn="ctr">
          <a:defRPr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/>
    </a:txDef>
  </a:objectDefaults>
  <a:extraClrSchemeLst/>
  <a:custClrLst>
    <a:custClr name="Blau-Verlauf 1">
      <a:srgbClr val="003565"/>
    </a:custClr>
    <a:custClr name="Rot-Verlauf 1">
      <a:srgbClr val="730F05"/>
    </a:custClr>
    <a:custClr name="Gelb-Verlauf 1">
      <a:srgbClr val="FFA000"/>
    </a:custClr>
    <a:custClr>
      <a:srgbClr val="FFFFFF"/>
    </a:custClr>
    <a:custClr name="Diagrammfarbe 1 | 50%">
      <a:srgbClr val="F3DB96"/>
    </a:custClr>
    <a:custClr name="Diagrammfarbe 2 | 50%">
      <a:srgbClr val="E5979C"/>
    </a:custClr>
    <a:custClr name="Diagrammfarbe 3 | 50%">
      <a:srgbClr val="BBD7C4"/>
    </a:custClr>
    <a:custClr name="Diagrammfarbe 4 | 50%">
      <a:srgbClr val="A7BCCF"/>
    </a:custClr>
    <a:custClr name="Diagrammfarbe 5 | 50%">
      <a:srgbClr val="EDB689"/>
    </a:custClr>
    <a:custClr name="Diagrammfarbe 6 | 50%">
      <a:srgbClr val="BDCC95"/>
    </a:custClr>
    <a:custClr name="Blau-Verlauf 2">
      <a:srgbClr val="0050AA"/>
    </a:custClr>
    <a:custClr name="Rot-Verlauf 2">
      <a:srgbClr val="E60A14"/>
    </a:custClr>
    <a:custClr name="Gelb-Verlauf 2">
      <a:srgbClr val="FFF00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8A8197"/>
    </a:custClr>
    <a:custClr>
      <a:srgbClr val="000000"/>
    </a:custClr>
    <a:custClr name="Blau-Verlauf 3">
      <a:srgbClr val="006FB9"/>
    </a:custClr>
    <a:custClr name="Rot-Verlauf 3">
      <a:srgbClr val="E63C14"/>
    </a:custClr>
    <a:custClr name="Gelb-Verlauf 3">
      <a:srgbClr val="FFF05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Lidl_Update_Folienbibliothek.potx" id="{FE4A25DF-5687-4213-A1DA-E1BA10981612}" vid="{5DED7764-AF17-4E65-9BA6-B76BDB2E8896}"/>
    </a:ext>
  </a:extLst>
</a:theme>
</file>

<file path=ppt/theme/theme4.xml><?xml version="1.0" encoding="utf-8"?>
<a:theme xmlns:a="http://schemas.openxmlformats.org/drawingml/2006/main" name="Office">
  <a:themeElements>
    <a:clrScheme name="Lidl">
      <a:dk1>
        <a:srgbClr val="0050AA"/>
      </a:dk1>
      <a:lt1>
        <a:sysClr val="window" lastClr="FFFFFF"/>
      </a:lt1>
      <a:dk2>
        <a:srgbClr val="E60A14"/>
      </a:dk2>
      <a:lt2>
        <a:srgbClr val="FFF000"/>
      </a:lt2>
      <a:accent1>
        <a:srgbClr val="3E7D9A"/>
      </a:accent1>
      <a:accent2>
        <a:srgbClr val="DFAB00"/>
      </a:accent2>
      <a:accent3>
        <a:srgbClr val="8A8197"/>
      </a:accent3>
      <a:accent4>
        <a:srgbClr val="61AF88"/>
      </a:accent4>
      <a:accent5>
        <a:srgbClr val="D76687"/>
      </a:accent5>
      <a:accent6>
        <a:srgbClr val="EBE5D1"/>
      </a:accent6>
      <a:hlink>
        <a:srgbClr val="0050AA"/>
      </a:hlink>
      <a:folHlink>
        <a:srgbClr val="0050AA"/>
      </a:folHlink>
    </a:clrScheme>
    <a:fontScheme name="Lidl">
      <a:majorFont>
        <a:latin typeface="Lidl Font Pro Semibold"/>
        <a:ea typeface=""/>
        <a:cs typeface=""/>
      </a:majorFont>
      <a:minorFont>
        <a:latin typeface="Lidl Fo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Lidl">
      <a:dk1>
        <a:srgbClr val="0050AA"/>
      </a:dk1>
      <a:lt1>
        <a:sysClr val="window" lastClr="FFFFFF"/>
      </a:lt1>
      <a:dk2>
        <a:srgbClr val="E60A14"/>
      </a:dk2>
      <a:lt2>
        <a:srgbClr val="FFF000"/>
      </a:lt2>
      <a:accent1>
        <a:srgbClr val="3E7D9A"/>
      </a:accent1>
      <a:accent2>
        <a:srgbClr val="DFAB00"/>
      </a:accent2>
      <a:accent3>
        <a:srgbClr val="8A8197"/>
      </a:accent3>
      <a:accent4>
        <a:srgbClr val="61AF88"/>
      </a:accent4>
      <a:accent5>
        <a:srgbClr val="D76687"/>
      </a:accent5>
      <a:accent6>
        <a:srgbClr val="EBE5D1"/>
      </a:accent6>
      <a:hlink>
        <a:srgbClr val="0050AA"/>
      </a:hlink>
      <a:folHlink>
        <a:srgbClr val="0050AA"/>
      </a:folHlink>
    </a:clrScheme>
    <a:fontScheme name="Lidl">
      <a:majorFont>
        <a:latin typeface="Lidl Font Pro Semibold"/>
        <a:ea typeface=""/>
        <a:cs typeface=""/>
      </a:majorFont>
      <a:minorFont>
        <a:latin typeface="Lidl Fon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C35C2A58F4A714998328E896AD8BF1D" ma:contentTypeVersion="0" ma:contentTypeDescription="Umožňuje vytvoriť nový dokument." ma:contentTypeScope="" ma:versionID="1b5d344fdbda3b1609e1032fcc2019a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4e5b75337f92b9070cc4e667f52c6081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F3BD10E-A445-4B79-8425-7E6BC305B712}">
  <ds:schemaRefs>
    <ds:schemaRef ds:uri="http://purl.org/dc/terms/"/>
    <ds:schemaRef ds:uri="f982cf88-cc58-4d14-9e52-b0a9b43dbd2b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41E20221-13A7-4721-A09B-C11BA38106B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C2577A6-25F7-4B12-AF28-026ADE8FC2E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99</Words>
  <Application>Microsoft Office PowerPoint</Application>
  <PresentationFormat>Širokouhlá</PresentationFormat>
  <Paragraphs>177</Paragraphs>
  <Slides>12</Slides>
  <Notes>9</Notes>
  <HiddenSlides>0</HiddenSlides>
  <MMClips>0</MMClips>
  <ScaleCrop>false</ScaleCrop>
  <HeadingPairs>
    <vt:vector size="8" baseType="variant">
      <vt:variant>
        <vt:lpstr>Použité písma</vt:lpstr>
      </vt:variant>
      <vt:variant>
        <vt:i4>2</vt:i4>
      </vt:variant>
      <vt:variant>
        <vt:lpstr>Motív</vt:lpstr>
      </vt:variant>
      <vt:variant>
        <vt:i4>3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12</vt:i4>
      </vt:variant>
    </vt:vector>
  </HeadingPairs>
  <TitlesOfParts>
    <vt:vector size="18" baseType="lpstr">
      <vt:lpstr>Arial</vt:lpstr>
      <vt:lpstr>Lidl Font Pro</vt:lpstr>
      <vt:lpstr>Lidl Master</vt:lpstr>
      <vt:lpstr>2_Lidl Master</vt:lpstr>
      <vt:lpstr>5_Lidl Master</vt:lpstr>
      <vt:lpstr>think-cell Folie</vt:lpstr>
      <vt:lpstr>Duálne vzdelávanie</vt:lpstr>
      <vt:lpstr>Čo je duálne vzdelávanie</vt:lpstr>
      <vt:lpstr>Čo sa u nás počas štúdia naučíš?</vt:lpstr>
      <vt:lpstr>Čo Lidl ponúka dualistom</vt:lpstr>
      <vt:lpstr>Čo Lidl ponúka dualistom v oblasti odmeňovania a benefitov</vt:lpstr>
      <vt:lpstr>Finančné zabezpečenie</vt:lpstr>
      <vt:lpstr>Čo Lidl ponúka dualistom v oblasti vzdelávania</vt:lpstr>
      <vt:lpstr>Čo Lidl ponúka dualistom v oblasti vzdelávania</vt:lpstr>
      <vt:lpstr>Prehľad SOŠ, s ktorými spolupracujeme</vt:lpstr>
      <vt:lpstr>Aké možnosti dualistom po skončení SOŠ ponúkame</vt:lpstr>
      <vt:lpstr>Ako sa prihlásiť? </vt:lpstr>
      <vt:lpstr>,,Kto sa prestáva zlepšovať, prestáva byť dobrý.“ </vt:lpstr>
    </vt:vector>
  </TitlesOfParts>
  <Company>Lidl Stiftung &amp; Co. K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andau, Saskia</dc:creator>
  <dc:description>Optimiert für Office 2016</dc:description>
  <cp:lastModifiedBy>Dominika Šišuláková</cp:lastModifiedBy>
  <cp:revision>1240</cp:revision>
  <dcterms:created xsi:type="dcterms:W3CDTF">2018-05-24T12:40:13Z</dcterms:created>
  <dcterms:modified xsi:type="dcterms:W3CDTF">2022-02-16T08:38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35C2A58F4A714998328E896AD8BF1D</vt:lpwstr>
  </property>
</Properties>
</file>